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5.xml" ContentType="application/vnd.openxmlformats-officedocument.theme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5" r:id="rId4"/>
    <p:sldMasterId id="2147483937" r:id="rId5"/>
    <p:sldMasterId id="2147484335" r:id="rId6"/>
    <p:sldMasterId id="2147484385" r:id="rId7"/>
    <p:sldMasterId id="2147484403" r:id="rId8"/>
    <p:sldMasterId id="2147484439" r:id="rId9"/>
  </p:sldMasterIdLst>
  <p:notesMasterIdLst>
    <p:notesMasterId r:id="rId15"/>
  </p:notesMasterIdLst>
  <p:sldIdLst>
    <p:sldId id="1450" r:id="rId10"/>
    <p:sldId id="4101" r:id="rId11"/>
    <p:sldId id="4105" r:id="rId12"/>
    <p:sldId id="333" r:id="rId13"/>
    <p:sldId id="2147483378" r:id="rId14"/>
  </p:sldIdLst>
  <p:sldSz cx="12192000" cy="6858000"/>
  <p:notesSz cx="6858000" cy="91440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22326E"/>
    <a:srgbClr val="0061FA"/>
    <a:srgbClr val="24A6A4"/>
    <a:srgbClr val="585FA8"/>
    <a:srgbClr val="AFCA0B"/>
    <a:srgbClr val="27C5CE"/>
    <a:srgbClr val="26C7D8"/>
    <a:srgbClr val="FF306D"/>
    <a:srgbClr val="CB40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14C54E9-B22E-438F-AE18-6F35BE88B2DF}" v="1" dt="2025-06-09T19:47:10.03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 snapToGrid="0">
      <p:cViewPr varScale="1">
        <p:scale>
          <a:sx n="53" d="100"/>
          <a:sy n="53" d="100"/>
        </p:scale>
        <p:origin x="1084" y="2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6" d="100"/>
          <a:sy n="46" d="100"/>
        </p:scale>
        <p:origin x="2728" y="5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1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AB0D96E-B1BD-45CD-AA9C-FFD169E7075F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l-GR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8EA028-A997-4A77-BA71-895DBDC4C5EA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15062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/>
              <a:t>Thank you Anders for sharing with us the insightful story of how the dual transitions of the industry decarbonization and digitalization go hand-in-hand. </a:t>
            </a:r>
          </a:p>
          <a:p>
            <a:endParaRPr lang="en-US" sz="1400" dirty="0"/>
          </a:p>
          <a:p>
            <a:r>
              <a:rPr lang="en-US" sz="1400" dirty="0"/>
              <a:t>Hello to everyone also from me. My name is Antonis Kyrkos, I am the Chief Digital and Strategy Officer or TITAN Group, and in the next 25 minutes or so I will share with you the </a:t>
            </a:r>
            <a:r>
              <a:rPr lang="en-US" sz="1400" b="1" dirty="0"/>
              <a:t>highlights and impact of TITAN’s Digital program to date, and present to you the way that our digital transformation strategy will build the future operating model of the Group as a core pillar of our Group’s strategy.</a:t>
            </a:r>
          </a:p>
          <a:p>
            <a:endParaRPr lang="en-US" sz="1400" dirty="0"/>
          </a:p>
          <a:p>
            <a:r>
              <a:rPr lang="en-US" sz="1400" dirty="0"/>
              <a:t>I hope that together with the presentation of my colleague Leonidas Canellopoulos earlier in the morning on TITAN’s innovation and decarbonization roadmaps, this will give you a holistic view of TITAN’s transformation program, and more specifically on </a:t>
            </a:r>
            <a:r>
              <a:rPr lang="en-US" sz="1400" b="1" dirty="0"/>
              <a:t>how our AI-powered digital transformation is delivering superior value and enabling superior outcomes for our customers, people, communities and shareholders</a:t>
            </a:r>
            <a:r>
              <a:rPr lang="en-US" sz="1400" dirty="0"/>
              <a:t>. </a:t>
            </a:r>
            <a:endParaRPr lang="el-GR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8EA028-A997-4A77-BA71-895DBDC4C5EA}" type="slidenum">
              <a:rPr kumimoji="0" lang="el-G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l-G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97524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437FA-7023-4909-9ADF-7B395763F67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1171F"/>
                </a:solidFill>
                <a:effectLst/>
                <a:uLnTx/>
                <a:uFillTx/>
                <a:latin typeface="EOS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31171F"/>
              </a:solidFill>
              <a:effectLst/>
              <a:uLnTx/>
              <a:uFillTx/>
              <a:latin typeface="EOS Office"/>
              <a:ea typeface="+mn-ea"/>
              <a:cs typeface="+mn-cs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A442E529-ED26-DF0D-AA3B-0B8922E1F5C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820996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C437FA-7023-4909-9ADF-7B395763F67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31171F"/>
                </a:solidFill>
                <a:effectLst/>
                <a:uLnTx/>
                <a:uFillTx/>
                <a:latin typeface="EOS Office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31171F"/>
              </a:solidFill>
              <a:effectLst/>
              <a:uLnTx/>
              <a:uFillTx/>
              <a:latin typeface="EOS Office"/>
              <a:ea typeface="+mn-ea"/>
              <a:cs typeface="+mn-cs"/>
            </a:endParaRPr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905E6131-9924-6127-529F-CBA291592AF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4616051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A8EA028-A997-4A77-BA71-895DBDC4C5EA}" type="slidenum">
              <a:rPr lang="el-GR" smtClean="0"/>
              <a:t>4</a:t>
            </a:fld>
            <a:endParaRPr lang="el-GR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5819AC27-0451-252B-7BBE-9EEA7E51C5D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1636544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C437FA-7023-4909-9ADF-7B395763F670}" type="slidenum">
              <a:rPr lang="de-DE" smtClean="0"/>
              <a:pPr/>
              <a:t>5</a:t>
            </a:fld>
            <a:endParaRPr lang="de-DE"/>
          </a:p>
        </p:txBody>
      </p:sp>
      <p:sp>
        <p:nvSpPr>
          <p:cNvPr id="6" name="Notes Placeholder 5">
            <a:extLst>
              <a:ext uri="{FF2B5EF4-FFF2-40B4-BE49-F238E27FC236}">
                <a16:creationId xmlns:a16="http://schemas.microsoft.com/office/drawing/2014/main" id="{6629E5C9-1D8A-DDFB-9B66-DC02665D89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350737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microsoft.com/office/2007/relationships/hdphoto" Target="../media/hdphoto3.wdp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microsoft.com/office/2007/relationships/hdphoto" Target="../media/hdphoto4.wdp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microsoft.com/office/2007/relationships/hdphoto" Target="../media/hdphoto5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4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5" Type="http://schemas.openxmlformats.org/officeDocument/2006/relationships/tags" Target="../tags/tag26.xml"/><Relationship Id="rId10" Type="http://schemas.openxmlformats.org/officeDocument/2006/relationships/image" Target="../media/image27.png"/><Relationship Id="rId4" Type="http://schemas.openxmlformats.org/officeDocument/2006/relationships/tags" Target="../tags/tag25.xml"/><Relationship Id="rId9" Type="http://schemas.openxmlformats.org/officeDocument/2006/relationships/image" Target="../media/image26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27.png"/><Relationship Id="rId5" Type="http://schemas.openxmlformats.org/officeDocument/2006/relationships/tags" Target="../tags/tag32.xml"/><Relationship Id="rId10" Type="http://schemas.openxmlformats.org/officeDocument/2006/relationships/image" Target="../media/image28.jpeg"/><Relationship Id="rId4" Type="http://schemas.openxmlformats.org/officeDocument/2006/relationships/tags" Target="../tags/tag31.xml"/><Relationship Id="rId9" Type="http://schemas.openxmlformats.org/officeDocument/2006/relationships/image" Target="../media/image26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29.emf"/><Relationship Id="rId4" Type="http://schemas.openxmlformats.org/officeDocument/2006/relationships/tags" Target="../tags/tag37.xml"/><Relationship Id="rId9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microsoft.com/office/2007/relationships/hdphoto" Target="../media/hdphoto1.wdp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4" Type="http://schemas.openxmlformats.org/officeDocument/2006/relationships/tags" Target="../tags/tag44.xml"/><Relationship Id="rId9" Type="http://schemas.openxmlformats.org/officeDocument/2006/relationships/image" Target="../media/image26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4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26.emf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53.xml"/><Relationship Id="rId4" Type="http://schemas.openxmlformats.org/officeDocument/2006/relationships/image" Target="../media/image30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5" Type="http://schemas.openxmlformats.org/officeDocument/2006/relationships/tags" Target="../tags/tag58.xml"/><Relationship Id="rId10" Type="http://schemas.openxmlformats.org/officeDocument/2006/relationships/image" Target="../media/image26.emf"/><Relationship Id="rId4" Type="http://schemas.openxmlformats.org/officeDocument/2006/relationships/tags" Target="../tags/tag57.xml"/><Relationship Id="rId9" Type="http://schemas.openxmlformats.org/officeDocument/2006/relationships/oleObject" Target="../embeddings/oleObject8.bin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tags" Target="../tags/tag63.xml"/><Relationship Id="rId7" Type="http://schemas.openxmlformats.org/officeDocument/2006/relationships/tags" Target="../tags/tag67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image" Target="../media/image29.emf"/><Relationship Id="rId5" Type="http://schemas.openxmlformats.org/officeDocument/2006/relationships/tags" Target="../tags/tag65.xml"/><Relationship Id="rId10" Type="http://schemas.openxmlformats.org/officeDocument/2006/relationships/oleObject" Target="../embeddings/oleObject9.bin"/><Relationship Id="rId4" Type="http://schemas.openxmlformats.org/officeDocument/2006/relationships/tags" Target="../tags/tag64.xml"/><Relationship Id="rId9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11" Type="http://schemas.openxmlformats.org/officeDocument/2006/relationships/image" Target="../media/image29.emf"/><Relationship Id="rId5" Type="http://schemas.openxmlformats.org/officeDocument/2006/relationships/tags" Target="../tags/tag73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72.xml"/><Relationship Id="rId9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image" Target="../media/image26.emf"/><Relationship Id="rId5" Type="http://schemas.openxmlformats.org/officeDocument/2006/relationships/tags" Target="../tags/tag81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80.xml"/><Relationship Id="rId9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6" Type="http://schemas.openxmlformats.org/officeDocument/2006/relationships/tags" Target="../tags/tag90.xml"/><Relationship Id="rId11" Type="http://schemas.openxmlformats.org/officeDocument/2006/relationships/image" Target="../media/image29.emf"/><Relationship Id="rId5" Type="http://schemas.openxmlformats.org/officeDocument/2006/relationships/tags" Target="../tags/tag89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88.xml"/><Relationship Id="rId9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3" Type="http://schemas.openxmlformats.org/officeDocument/2006/relationships/tags" Target="../tags/tag95.xml"/><Relationship Id="rId7" Type="http://schemas.openxmlformats.org/officeDocument/2006/relationships/tags" Target="../tags/tag99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1" Type="http://schemas.openxmlformats.org/officeDocument/2006/relationships/image" Target="../media/image26.emf"/><Relationship Id="rId5" Type="http://schemas.openxmlformats.org/officeDocument/2006/relationships/tags" Target="../tags/tag97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96.xml"/><Relationship Id="rId9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03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5" Type="http://schemas.openxmlformats.org/officeDocument/2006/relationships/tags" Target="../tags/tag105.xml"/><Relationship Id="rId4" Type="http://schemas.openxmlformats.org/officeDocument/2006/relationships/tags" Target="../tags/tag104.xml"/><Relationship Id="rId9" Type="http://schemas.openxmlformats.org/officeDocument/2006/relationships/image" Target="../media/image2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microsoft.com/office/2007/relationships/hdphoto" Target="../media/hdphoto2.wdp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26.emf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11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1.pn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bridge over a body of water with trees and mountains in the background&#10;&#10;Description automatically generated">
            <a:extLst>
              <a:ext uri="{FF2B5EF4-FFF2-40B4-BE49-F238E27FC236}">
                <a16:creationId xmlns:a16="http://schemas.microsoft.com/office/drawing/2014/main" id="{AA747D40-9F4D-AD31-52A2-849F7CDF26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316" r="5586" b="25389"/>
          <a:stretch/>
        </p:blipFill>
        <p:spPr>
          <a:xfrm flipH="1"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82D3D0B-B742-DCD1-D3FB-30EB82C1BCA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432048"/>
            <a:ext cx="12192000" cy="342595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4302CC0-28B1-A5EB-AAF3-C566ECB476BA}"/>
              </a:ext>
            </a:extLst>
          </p:cNvPr>
          <p:cNvSpPr/>
          <p:nvPr userDrawn="1"/>
        </p:nvSpPr>
        <p:spPr>
          <a:xfrm>
            <a:off x="0" y="0"/>
            <a:ext cx="12192000" cy="3937000"/>
          </a:xfrm>
          <a:prstGeom prst="rect">
            <a:avLst/>
          </a:prstGeom>
          <a:gradFill>
            <a:gsLst>
              <a:gs pos="0">
                <a:schemeClr val="bg1">
                  <a:alpha val="86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4B1C798-27FF-6119-3CFC-050484DEE76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884910" y="6022838"/>
            <a:ext cx="1789641" cy="46686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30B1BA70-BD2C-FA6B-BB8E-E30385CCB32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7449" y="309565"/>
            <a:ext cx="10006618" cy="1349902"/>
          </a:xfr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kern="1200" cap="all" baseline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>
                        <a:lumMod val="75000"/>
                      </a:schemeClr>
                    </a:gs>
                  </a:gsLst>
                  <a:lin ang="2700000" scaled="1"/>
                  <a:tileRect/>
                </a:gradFill>
                <a:effectLst>
                  <a:outerShdw blurRad="431800" algn="ctr" rotWithShape="0">
                    <a:schemeClr val="bg1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27D5288F-1DC1-66F6-6FC4-3B2CE958E2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7450" y="1659468"/>
            <a:ext cx="5578550" cy="1497389"/>
          </a:xfrm>
        </p:spPr>
        <p:txBody>
          <a:bodyPr>
            <a:noAutofit/>
          </a:bodyPr>
          <a:lstStyle>
            <a:lvl1pPr marL="0" indent="0" algn="l">
              <a:buNone/>
              <a:defRPr sz="2400" b="0" cap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684811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A1F0E-0F1F-C12D-A8F4-8EA15BB383C4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F591A5-08FD-F861-E563-41C9B55294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5938" y="1520823"/>
            <a:ext cx="11160124" cy="460851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6C7514-E68C-300B-2884-06C38B346EA8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5C0BD3-2E8D-481C-E0C0-A205A495BCB1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822D08-B3F3-22EF-E5BD-19B9487889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381283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947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 err="1"/>
              <a:t>Presentation</a:t>
            </a:r>
            <a:r>
              <a:rPr lang="de-DE"/>
              <a:t>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A5D4611-DBBF-4F1E-ACCB-24FC8F1A96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402857"/>
            <a:ext cx="10945812" cy="3062922"/>
          </a:xfrm>
        </p:spPr>
        <p:txBody>
          <a:bodyPr/>
          <a:lstStyle>
            <a:lvl1pPr marL="0" indent="0">
              <a:lnSpc>
                <a:spcPct val="92000"/>
              </a:lnSpc>
              <a:buNone/>
              <a:defRPr sz="73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Text</a:t>
            </a:r>
            <a:endParaRPr lang="de-DE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5CFA6E0-CAEF-4570-99F7-0786FBA285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4659380"/>
            <a:ext cx="10945811" cy="1074421"/>
          </a:xfrm>
        </p:spPr>
        <p:txBody>
          <a:bodyPr/>
          <a:lstStyle>
            <a:lvl1pPr marL="0" indent="0">
              <a:buNone/>
              <a:defRPr sz="2500"/>
            </a:lvl1pPr>
          </a:lstStyle>
          <a:p>
            <a:pPr lvl="0"/>
            <a:r>
              <a:rPr lang="en-US" noProof="0"/>
              <a:t>Name Surname</a:t>
            </a:r>
          </a:p>
        </p:txBody>
      </p:sp>
      <p:sp>
        <p:nvSpPr>
          <p:cNvPr id="18" name="Grafik 16">
            <a:extLst>
              <a:ext uri="{FF2B5EF4-FFF2-40B4-BE49-F238E27FC236}">
                <a16:creationId xmlns:a16="http://schemas.microsoft.com/office/drawing/2014/main" id="{4F02EDBC-F806-40EB-B59D-89A99441E5D9}"/>
              </a:ext>
            </a:extLst>
          </p:cNvPr>
          <p:cNvSpPr/>
          <p:nvPr/>
        </p:nvSpPr>
        <p:spPr>
          <a:xfrm>
            <a:off x="766762" y="612151"/>
            <a:ext cx="820781" cy="578952"/>
          </a:xfrm>
          <a:custGeom>
            <a:avLst/>
            <a:gdLst>
              <a:gd name="connsiteX0" fmla="*/ 2575610 w 4354291"/>
              <a:gd name="connsiteY0" fmla="*/ 3071115 h 3071374"/>
              <a:gd name="connsiteX1" fmla="*/ 3518385 w 4354291"/>
              <a:gd name="connsiteY1" fmla="*/ 3071115 h 3071374"/>
              <a:gd name="connsiteX2" fmla="*/ 4266765 w 4354291"/>
              <a:gd name="connsiteY2" fmla="*/ 1409098 h 3071374"/>
              <a:gd name="connsiteX3" fmla="*/ 4354223 w 4354291"/>
              <a:gd name="connsiteY3" fmla="*/ 981434 h 3071374"/>
              <a:gd name="connsiteX4" fmla="*/ 3353108 w 4354291"/>
              <a:gd name="connsiteY4" fmla="*/ -250 h 3071374"/>
              <a:gd name="connsiteX5" fmla="*/ 2352068 w 4354291"/>
              <a:gd name="connsiteY5" fmla="*/ 981434 h 3071374"/>
              <a:gd name="connsiteX6" fmla="*/ 3081016 w 4354291"/>
              <a:gd name="connsiteY6" fmla="*/ 1933925 h 3071374"/>
              <a:gd name="connsiteX7" fmla="*/ 213764 w 4354291"/>
              <a:gd name="connsiteY7" fmla="*/ 3071115 h 3071374"/>
              <a:gd name="connsiteX8" fmla="*/ 1146832 w 4354291"/>
              <a:gd name="connsiteY8" fmla="*/ 3071115 h 3071374"/>
              <a:gd name="connsiteX9" fmla="*/ 1895201 w 4354291"/>
              <a:gd name="connsiteY9" fmla="*/ 1438225 h 3071374"/>
              <a:gd name="connsiteX10" fmla="*/ 1992442 w 4354291"/>
              <a:gd name="connsiteY10" fmla="*/ 981434 h 3071374"/>
              <a:gd name="connsiteX11" fmla="*/ 1001042 w 4354291"/>
              <a:gd name="connsiteY11" fmla="*/ -260 h 3071374"/>
              <a:gd name="connsiteX12" fmla="*/ -69 w 4354291"/>
              <a:gd name="connsiteY12" fmla="*/ 981434 h 3071374"/>
              <a:gd name="connsiteX13" fmla="*/ 709463 w 4354291"/>
              <a:gd name="connsiteY13" fmla="*/ 1933925 h 3071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54291" h="3071374">
                <a:moveTo>
                  <a:pt x="2575610" y="3071115"/>
                </a:moveTo>
                <a:lnTo>
                  <a:pt x="3518385" y="3071115"/>
                </a:lnTo>
                <a:lnTo>
                  <a:pt x="4266765" y="1409098"/>
                </a:lnTo>
                <a:cubicBezTo>
                  <a:pt x="4325096" y="1282729"/>
                  <a:pt x="4354223" y="1136940"/>
                  <a:pt x="4354223" y="981434"/>
                </a:cubicBezTo>
                <a:cubicBezTo>
                  <a:pt x="4354223" y="427403"/>
                  <a:pt x="3926560" y="-250"/>
                  <a:pt x="3353108" y="-250"/>
                </a:cubicBezTo>
                <a:cubicBezTo>
                  <a:pt x="2789437" y="-250"/>
                  <a:pt x="2352068" y="427403"/>
                  <a:pt x="2352068" y="981434"/>
                </a:cubicBezTo>
                <a:cubicBezTo>
                  <a:pt x="2352068" y="1457713"/>
                  <a:pt x="2653363" y="1827045"/>
                  <a:pt x="3081016" y="1933925"/>
                </a:cubicBezTo>
                <a:close/>
                <a:moveTo>
                  <a:pt x="213764" y="3071115"/>
                </a:moveTo>
                <a:lnTo>
                  <a:pt x="1146832" y="3071115"/>
                </a:lnTo>
                <a:lnTo>
                  <a:pt x="1895201" y="1438225"/>
                </a:lnTo>
                <a:cubicBezTo>
                  <a:pt x="1958181" y="1294102"/>
                  <a:pt x="1991261" y="1138702"/>
                  <a:pt x="1992442" y="981434"/>
                </a:cubicBezTo>
                <a:cubicBezTo>
                  <a:pt x="1992442" y="427403"/>
                  <a:pt x="1574495" y="-260"/>
                  <a:pt x="1001042" y="-260"/>
                </a:cubicBezTo>
                <a:cubicBezTo>
                  <a:pt x="437305" y="-260"/>
                  <a:pt x="-69" y="427403"/>
                  <a:pt x="-69" y="981434"/>
                </a:cubicBezTo>
                <a:cubicBezTo>
                  <a:pt x="-69" y="1447998"/>
                  <a:pt x="291511" y="1817329"/>
                  <a:pt x="709463" y="193392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2" name="Picture 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325465C8-5EB8-92A2-B37A-26AEB567546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2126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animBg="1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(blue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947" y="6260679"/>
            <a:ext cx="8280659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de-DE" err="1"/>
              <a:t>Presentation</a:t>
            </a:r>
            <a:r>
              <a:rPr lang="de-DE"/>
              <a:t>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1F8A7E-EE4E-4EB6-BDF8-B975A4517C8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A5D4611-DBBF-4F1E-ACCB-24FC8F1A96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6763" y="1395809"/>
            <a:ext cx="10945812" cy="3062922"/>
          </a:xfrm>
        </p:spPr>
        <p:txBody>
          <a:bodyPr/>
          <a:lstStyle>
            <a:lvl1pPr marL="0" indent="0">
              <a:lnSpc>
                <a:spcPct val="92000"/>
              </a:lnSpc>
              <a:buNone/>
              <a:defRPr sz="7300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5CFA6E0-CAEF-4570-99F7-0786FBA285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4663438"/>
            <a:ext cx="10945811" cy="1074421"/>
          </a:xfrm>
        </p:spPr>
        <p:txBody>
          <a:bodyPr/>
          <a:lstStyle>
            <a:lvl1pPr marL="0" indent="0">
              <a:buNone/>
              <a:defRPr sz="25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/>
              <a:t>Name Surname</a:t>
            </a:r>
          </a:p>
        </p:txBody>
      </p:sp>
      <p:sp>
        <p:nvSpPr>
          <p:cNvPr id="18" name="Grafik 16">
            <a:extLst>
              <a:ext uri="{FF2B5EF4-FFF2-40B4-BE49-F238E27FC236}">
                <a16:creationId xmlns:a16="http://schemas.microsoft.com/office/drawing/2014/main" id="{4F02EDBC-F806-40EB-B59D-89A99441E5D9}"/>
              </a:ext>
            </a:extLst>
          </p:cNvPr>
          <p:cNvSpPr/>
          <p:nvPr/>
        </p:nvSpPr>
        <p:spPr>
          <a:xfrm>
            <a:off x="766762" y="612151"/>
            <a:ext cx="820781" cy="578952"/>
          </a:xfrm>
          <a:custGeom>
            <a:avLst/>
            <a:gdLst>
              <a:gd name="connsiteX0" fmla="*/ 2575610 w 4354291"/>
              <a:gd name="connsiteY0" fmla="*/ 3071115 h 3071374"/>
              <a:gd name="connsiteX1" fmla="*/ 3518385 w 4354291"/>
              <a:gd name="connsiteY1" fmla="*/ 3071115 h 3071374"/>
              <a:gd name="connsiteX2" fmla="*/ 4266765 w 4354291"/>
              <a:gd name="connsiteY2" fmla="*/ 1409098 h 3071374"/>
              <a:gd name="connsiteX3" fmla="*/ 4354223 w 4354291"/>
              <a:gd name="connsiteY3" fmla="*/ 981434 h 3071374"/>
              <a:gd name="connsiteX4" fmla="*/ 3353108 w 4354291"/>
              <a:gd name="connsiteY4" fmla="*/ -250 h 3071374"/>
              <a:gd name="connsiteX5" fmla="*/ 2352068 w 4354291"/>
              <a:gd name="connsiteY5" fmla="*/ 981434 h 3071374"/>
              <a:gd name="connsiteX6" fmla="*/ 3081016 w 4354291"/>
              <a:gd name="connsiteY6" fmla="*/ 1933925 h 3071374"/>
              <a:gd name="connsiteX7" fmla="*/ 213764 w 4354291"/>
              <a:gd name="connsiteY7" fmla="*/ 3071115 h 3071374"/>
              <a:gd name="connsiteX8" fmla="*/ 1146832 w 4354291"/>
              <a:gd name="connsiteY8" fmla="*/ 3071115 h 3071374"/>
              <a:gd name="connsiteX9" fmla="*/ 1895201 w 4354291"/>
              <a:gd name="connsiteY9" fmla="*/ 1438225 h 3071374"/>
              <a:gd name="connsiteX10" fmla="*/ 1992442 w 4354291"/>
              <a:gd name="connsiteY10" fmla="*/ 981434 h 3071374"/>
              <a:gd name="connsiteX11" fmla="*/ 1001042 w 4354291"/>
              <a:gd name="connsiteY11" fmla="*/ -260 h 3071374"/>
              <a:gd name="connsiteX12" fmla="*/ -69 w 4354291"/>
              <a:gd name="connsiteY12" fmla="*/ 981434 h 3071374"/>
              <a:gd name="connsiteX13" fmla="*/ 709463 w 4354291"/>
              <a:gd name="connsiteY13" fmla="*/ 1933925 h 30713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354291" h="3071374">
                <a:moveTo>
                  <a:pt x="2575610" y="3071115"/>
                </a:moveTo>
                <a:lnTo>
                  <a:pt x="3518385" y="3071115"/>
                </a:lnTo>
                <a:lnTo>
                  <a:pt x="4266765" y="1409098"/>
                </a:lnTo>
                <a:cubicBezTo>
                  <a:pt x="4325096" y="1282729"/>
                  <a:pt x="4354223" y="1136940"/>
                  <a:pt x="4354223" y="981434"/>
                </a:cubicBezTo>
                <a:cubicBezTo>
                  <a:pt x="4354223" y="427403"/>
                  <a:pt x="3926560" y="-250"/>
                  <a:pt x="3353108" y="-250"/>
                </a:cubicBezTo>
                <a:cubicBezTo>
                  <a:pt x="2789437" y="-250"/>
                  <a:pt x="2352068" y="427403"/>
                  <a:pt x="2352068" y="981434"/>
                </a:cubicBezTo>
                <a:cubicBezTo>
                  <a:pt x="2352068" y="1457713"/>
                  <a:pt x="2653363" y="1827045"/>
                  <a:pt x="3081016" y="1933925"/>
                </a:cubicBezTo>
                <a:close/>
                <a:moveTo>
                  <a:pt x="213764" y="3071115"/>
                </a:moveTo>
                <a:lnTo>
                  <a:pt x="1146832" y="3071115"/>
                </a:lnTo>
                <a:lnTo>
                  <a:pt x="1895201" y="1438225"/>
                </a:lnTo>
                <a:cubicBezTo>
                  <a:pt x="1958181" y="1294102"/>
                  <a:pt x="1991261" y="1138702"/>
                  <a:pt x="1992442" y="981434"/>
                </a:cubicBezTo>
                <a:cubicBezTo>
                  <a:pt x="1992442" y="427403"/>
                  <a:pt x="1574495" y="-260"/>
                  <a:pt x="1001042" y="-260"/>
                </a:cubicBezTo>
                <a:cubicBezTo>
                  <a:pt x="437305" y="-260"/>
                  <a:pt x="-69" y="427403"/>
                  <a:pt x="-69" y="981434"/>
                </a:cubicBezTo>
                <a:cubicBezTo>
                  <a:pt x="-69" y="1447998"/>
                  <a:pt x="291511" y="1817329"/>
                  <a:pt x="709463" y="1933925"/>
                </a:cubicBezTo>
                <a:close/>
              </a:path>
            </a:pathLst>
          </a:custGeom>
          <a:solidFill>
            <a:schemeClr val="accent2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e-DE"/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E996EE05-710A-AEA8-B186-3F84FA7D63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179" y="6071947"/>
            <a:ext cx="2363372" cy="61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4477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5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animBg="1"/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green)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53DF51-DD4F-46C0-A50D-225E45719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esentation title · 00.00.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9B5B6A-BF56-4D5F-9B05-182ED9B42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pic>
        <p:nvPicPr>
          <p:cNvPr id="2" name="Picture 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63A2E0CF-FBF4-AB85-AE7F-626EB8CA3A9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5321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(black)">
    <p:bg>
      <p:bgPr>
        <a:gradFill>
          <a:gsLst>
            <a:gs pos="58000">
              <a:schemeClr val="tx2">
                <a:lumMod val="100000"/>
              </a:schemeClr>
            </a:gs>
            <a:gs pos="100000">
              <a:schemeClr val="accent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553DF51-DD4F-46C0-A50D-225E45719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resentation title · 00.00.2021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F9B5B6A-BF56-4D5F-9B05-182ED9B429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1F8A7E-EE4E-4EB6-BDF8-B975A4517C8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2" name="Picture 1" descr="A black and white logo&#10;&#10;AI-generated content may be incorrect.">
            <a:extLst>
              <a:ext uri="{FF2B5EF4-FFF2-40B4-BE49-F238E27FC236}">
                <a16:creationId xmlns:a16="http://schemas.microsoft.com/office/drawing/2014/main" id="{D1C30BEB-4494-8ED7-E39B-1B41F243920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179" y="6071947"/>
            <a:ext cx="2363372" cy="61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85677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51362B-BE66-48BD-84EF-15395DD7E5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2384424"/>
            <a:ext cx="7200900" cy="3856355"/>
          </a:xfrm>
        </p:spPr>
        <p:txBody>
          <a:bodyPr anchor="b"/>
          <a:lstStyle>
            <a:lvl1pPr marL="0" indent="0">
              <a:buNone/>
              <a:tabLst>
                <a:tab pos="182563" algn="l"/>
              </a:tabLst>
              <a:defRPr/>
            </a:lvl1pPr>
          </a:lstStyle>
          <a:p>
            <a:pPr lvl="0"/>
            <a:r>
              <a:rPr lang="de-DE"/>
              <a:t>Text</a:t>
            </a:r>
          </a:p>
        </p:txBody>
      </p:sp>
      <p:pic>
        <p:nvPicPr>
          <p:cNvPr id="2" name="Picture 1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2EEBD2E9-6D1A-387F-61FC-473E5BC0BF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4409" y="402610"/>
            <a:ext cx="3498166" cy="6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222781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 (animated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llipse 5">
            <a:extLst>
              <a:ext uri="{FF2B5EF4-FFF2-40B4-BE49-F238E27FC236}">
                <a16:creationId xmlns:a16="http://schemas.microsoft.com/office/drawing/2014/main" id="{68458CA0-1700-44D3-A781-F4286EB09EF2}"/>
              </a:ext>
            </a:extLst>
          </p:cNvPr>
          <p:cNvSpPr/>
          <p:nvPr userDrawn="1"/>
        </p:nvSpPr>
        <p:spPr>
          <a:xfrm>
            <a:off x="-13539787" y="-11125200"/>
            <a:ext cx="14554200" cy="145542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600" err="1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851362B-BE66-48BD-84EF-15395DD7E50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2384424"/>
            <a:ext cx="7200900" cy="3856355"/>
          </a:xfrm>
        </p:spPr>
        <p:txBody>
          <a:bodyPr anchor="b"/>
          <a:lstStyle>
            <a:lvl1pPr marL="0" indent="0">
              <a:buNone/>
              <a:tabLst>
                <a:tab pos="182563" algn="l"/>
              </a:tabLst>
              <a:defRPr/>
            </a:lvl1pPr>
          </a:lstStyle>
          <a:p>
            <a:pPr lvl="0"/>
            <a:r>
              <a:rPr lang="de-DE"/>
              <a:t>Text</a:t>
            </a:r>
          </a:p>
        </p:txBody>
      </p:sp>
      <p:pic>
        <p:nvPicPr>
          <p:cNvPr id="10" name="Picture 9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214EA04B-8BA8-D2F2-3B50-AF61E4561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4409" y="402610"/>
            <a:ext cx="3498166" cy="660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204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3" presetClass="pat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75E-6 1.11111E-6 L 1.01367 1.06111 " pathEditMode="relative" rAng="0" ptsTypes="AA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0690" y="53056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4" grpId="1" animBg="1"/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5">
            <a:extLst>
              <a:ext uri="{FF2B5EF4-FFF2-40B4-BE49-F238E27FC236}">
                <a16:creationId xmlns:a16="http://schemas.microsoft.com/office/drawing/2014/main" id="{D616E9FE-E95F-480E-A142-04A34CBAF39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6763" y="2384425"/>
            <a:ext cx="10658474" cy="2165350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spcAft>
                <a:spcPts val="0"/>
              </a:spcAft>
              <a:buNone/>
              <a:defRPr sz="10500" b="1">
                <a:solidFill>
                  <a:schemeClr val="bg1"/>
                </a:solidFill>
                <a:latin typeface="+mj-lt"/>
              </a:defRPr>
            </a:lvl1pPr>
            <a:lvl2pPr marL="180975" indent="0">
              <a:buNone/>
              <a:defRPr/>
            </a:lvl2pPr>
          </a:lstStyle>
          <a:p>
            <a:pPr lvl="0"/>
            <a:r>
              <a:rPr lang="de-DE"/>
              <a:t>Text</a:t>
            </a:r>
          </a:p>
        </p:txBody>
      </p:sp>
      <p:pic>
        <p:nvPicPr>
          <p:cNvPr id="3" name="Picture 2" descr="A black and white logo&#10;&#10;AI-generated content may be incorrect.">
            <a:extLst>
              <a:ext uri="{FF2B5EF4-FFF2-40B4-BE49-F238E27FC236}">
                <a16:creationId xmlns:a16="http://schemas.microsoft.com/office/drawing/2014/main" id="{C1B99AE8-336B-F655-5F31-A19715CDE7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954" y="6071947"/>
            <a:ext cx="2363372" cy="61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0147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5F44A1-F5D2-BE18-8C3C-8620368838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05C2A79-3906-BDD3-7654-F87BB35B124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58A98C-E8B6-7054-7DEB-96B4D103031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3F05F4E-3A2B-47BE-8836-90C1EB87E9F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998BA51A-26D7-BB3D-9A69-77682702D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14156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3191F3-F4E6-7752-A3A4-D3E78C15BB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122363"/>
            <a:ext cx="9144000" cy="2387600"/>
          </a:xfrm>
        </p:spPr>
        <p:txBody>
          <a:bodyPr anchor="b"/>
          <a:lstStyle>
            <a:lvl1pPr algn="ctr">
              <a:defRPr sz="5997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939882-9B29-6D09-81BC-4EDF9C620F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399"/>
            </a:lvl1pPr>
            <a:lvl2pPr marL="456930" indent="0" algn="ctr">
              <a:buNone/>
              <a:defRPr sz="1999"/>
            </a:lvl2pPr>
            <a:lvl3pPr marL="913860" indent="0" algn="ctr">
              <a:buNone/>
              <a:defRPr sz="1799"/>
            </a:lvl3pPr>
            <a:lvl4pPr marL="1370790" indent="0" algn="ctr">
              <a:buNone/>
              <a:defRPr sz="1599"/>
            </a:lvl4pPr>
            <a:lvl5pPr marL="1827720" indent="0" algn="ctr">
              <a:buNone/>
              <a:defRPr sz="1599"/>
            </a:lvl5pPr>
            <a:lvl6pPr marL="2284650" indent="0" algn="ctr">
              <a:buNone/>
              <a:defRPr sz="1599"/>
            </a:lvl6pPr>
            <a:lvl7pPr marL="2741580" indent="0" algn="ctr">
              <a:buNone/>
              <a:defRPr sz="1599"/>
            </a:lvl7pPr>
            <a:lvl8pPr marL="3198510" indent="0" algn="ctr">
              <a:buNone/>
              <a:defRPr sz="1599"/>
            </a:lvl8pPr>
            <a:lvl9pPr marL="3655439" indent="0" algn="ctr">
              <a:buNone/>
              <a:defRPr sz="1599"/>
            </a:lvl9pPr>
          </a:lstStyle>
          <a:p>
            <a:r>
              <a:rPr lang="en-US"/>
              <a:t>Click to edit Master subtitle style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348794E-F1BC-AA00-F2FD-DEC76AB1CE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45CDB93-57AD-3D2E-DF4C-E6BC8A5124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B90B01-E01E-2A1B-F9F5-F8A3CDDF19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8396620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9AEE4-B809-404B-9F4C-2783143DE4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11ADBB-7FF5-4F91-927D-B7F14896C3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D4C143-AD7C-C4BF-9675-AEB339C0E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6B60FB-6C01-CC51-B618-BDBDB89DFD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E03F33-60D8-B5BD-6BA3-9B4F20B2D7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9108199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B2E73-DB5D-68A3-C3E9-7DEE36479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14C766-77D8-E720-735C-78B2C3CE82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7" y="1520824"/>
            <a:ext cx="5337607" cy="460851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496DD4-8084-751E-EA90-18FD692DF9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38455" y="1520824"/>
            <a:ext cx="5337607" cy="460851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2942F65-746F-86A9-6A66-6F8AE7E6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7222068-15A5-F627-89E2-0AF8774B5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05D8992F-67B8-A537-BAA3-BF63CBDDC1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96509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85F8D0-6722-09A9-C3CE-019025FA5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7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8FC9665-8634-6040-EACB-7FB94B17A45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399">
                <a:solidFill>
                  <a:schemeClr val="tx1">
                    <a:tint val="75000"/>
                  </a:schemeClr>
                </a:solidFill>
              </a:defRPr>
            </a:lvl1pPr>
            <a:lvl2pPr marL="456930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3860" indent="0">
              <a:buNone/>
              <a:defRPr sz="1799">
                <a:solidFill>
                  <a:schemeClr val="tx1">
                    <a:tint val="75000"/>
                  </a:schemeClr>
                </a:solidFill>
              </a:defRPr>
            </a:lvl3pPr>
            <a:lvl4pPr marL="137079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4pPr>
            <a:lvl5pPr marL="182772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5pPr>
            <a:lvl6pPr marL="228465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6pPr>
            <a:lvl7pPr marL="274158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7pPr>
            <a:lvl8pPr marL="3198510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8pPr>
            <a:lvl9pPr marL="3655439" indent="0">
              <a:buNone/>
              <a:defRPr sz="159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A346EB-F07F-C76E-4E58-9BD1BBDE1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DDA148-A182-00D4-FFF0-85CED0F6FC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21C6AC-CC81-F0B7-6795-2FEBD26AB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17758156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BF4B89-5175-9466-E338-AAE7F8A8DE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86CC22-FC6C-8157-E518-D0429A2BD9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1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94C171-CB09-48B5-CD7B-CDBA1395F6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1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261FC7C-A8E8-C1FA-AC25-33CA817FD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E3C692-CEC0-C435-62F7-ABE796497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8C9B7AF-429F-E02F-AF43-8AF5D2C4D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73792844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442B1E-5CA4-2294-5F92-8B087BE218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22B5A6-331E-31EB-5905-FAB653BF055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30" indent="0">
              <a:buNone/>
              <a:defRPr sz="1999" b="1"/>
            </a:lvl2pPr>
            <a:lvl3pPr marL="913860" indent="0">
              <a:buNone/>
              <a:defRPr sz="1799" b="1"/>
            </a:lvl3pPr>
            <a:lvl4pPr marL="1370790" indent="0">
              <a:buNone/>
              <a:defRPr sz="1599" b="1"/>
            </a:lvl4pPr>
            <a:lvl5pPr marL="1827720" indent="0">
              <a:buNone/>
              <a:defRPr sz="1599" b="1"/>
            </a:lvl5pPr>
            <a:lvl6pPr marL="2284650" indent="0">
              <a:buNone/>
              <a:defRPr sz="1599" b="1"/>
            </a:lvl6pPr>
            <a:lvl7pPr marL="2741580" indent="0">
              <a:buNone/>
              <a:defRPr sz="1599" b="1"/>
            </a:lvl7pPr>
            <a:lvl8pPr marL="3198510" indent="0">
              <a:buNone/>
              <a:defRPr sz="1599" b="1"/>
            </a:lvl8pPr>
            <a:lvl9pPr marL="3655439" indent="0">
              <a:buNone/>
              <a:defRPr sz="15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363FF0-9B9B-FAC0-33BF-8D22E6909E8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A12928-F204-B2CE-ED1F-A98E9544991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399" b="1"/>
            </a:lvl1pPr>
            <a:lvl2pPr marL="456930" indent="0">
              <a:buNone/>
              <a:defRPr sz="1999" b="1"/>
            </a:lvl2pPr>
            <a:lvl3pPr marL="913860" indent="0">
              <a:buNone/>
              <a:defRPr sz="1799" b="1"/>
            </a:lvl3pPr>
            <a:lvl4pPr marL="1370790" indent="0">
              <a:buNone/>
              <a:defRPr sz="1599" b="1"/>
            </a:lvl4pPr>
            <a:lvl5pPr marL="1827720" indent="0">
              <a:buNone/>
              <a:defRPr sz="1599" b="1"/>
            </a:lvl5pPr>
            <a:lvl6pPr marL="2284650" indent="0">
              <a:buNone/>
              <a:defRPr sz="1599" b="1"/>
            </a:lvl6pPr>
            <a:lvl7pPr marL="2741580" indent="0">
              <a:buNone/>
              <a:defRPr sz="1599" b="1"/>
            </a:lvl7pPr>
            <a:lvl8pPr marL="3198510" indent="0">
              <a:buNone/>
              <a:defRPr sz="1599" b="1"/>
            </a:lvl8pPr>
            <a:lvl9pPr marL="3655439" indent="0">
              <a:buNone/>
              <a:defRPr sz="1599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DA3FA6F-7972-93EE-D50A-31F5DB3354B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4C39D33-E1D3-C427-3CB1-AA322009DE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5D8D746-530A-AFE7-8291-FF8D5A0676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8F6D08-B565-8C14-E5D2-D35E08561F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83396937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45C07C-E6EA-356C-063E-33D466D1D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A8ABAB-4C42-6494-EE48-4522E99DB1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61615D-FD0C-8DA7-86EF-6AC6316F29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71D6150-2A1B-3A17-6E27-2FEE9D51B4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51957217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AFEC697-D50D-ECB4-6056-80D3CAE21A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7DEE984-332F-A2B0-3D8E-1116FDC3F4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CE95F5-5DF7-650C-24F4-C5DBC78C4B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60517038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74E1F8-37FF-26C6-F649-A59310E5D1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2BEA3B-A14E-CE85-8970-FEF17F321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>
              <a:defRPr sz="3198"/>
            </a:lvl1pPr>
            <a:lvl2pPr>
              <a:defRPr sz="2798"/>
            </a:lvl2pPr>
            <a:lvl3pPr>
              <a:defRPr sz="2399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D4F01F-C503-81EA-A8F8-A28047B79E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6930" indent="0">
              <a:buNone/>
              <a:defRPr sz="1399"/>
            </a:lvl2pPr>
            <a:lvl3pPr marL="913860" indent="0">
              <a:buNone/>
              <a:defRPr sz="1200"/>
            </a:lvl3pPr>
            <a:lvl4pPr marL="1370790" indent="0">
              <a:buNone/>
              <a:defRPr sz="1000"/>
            </a:lvl4pPr>
            <a:lvl5pPr marL="1827720" indent="0">
              <a:buNone/>
              <a:defRPr sz="1000"/>
            </a:lvl5pPr>
            <a:lvl6pPr marL="2284650" indent="0">
              <a:buNone/>
              <a:defRPr sz="1000"/>
            </a:lvl6pPr>
            <a:lvl7pPr marL="2741580" indent="0">
              <a:buNone/>
              <a:defRPr sz="1000"/>
            </a:lvl7pPr>
            <a:lvl8pPr marL="3198510" indent="0">
              <a:buNone/>
              <a:defRPr sz="1000"/>
            </a:lvl8pPr>
            <a:lvl9pPr marL="365543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089290-554C-910B-D282-6B943C589A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2788B23-9C56-367E-5080-23E78D7CE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704557D-5BC4-D1BB-CAD3-4F72D6140C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758900585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224E3-DFA6-84EC-3663-2BCAAF34B7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8"/>
            </a:lvl1pPr>
          </a:lstStyle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6F088EF-9487-CD87-DA1E-C96ACCECBC9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9" y="987426"/>
            <a:ext cx="6172200" cy="4873625"/>
          </a:xfrm>
        </p:spPr>
        <p:txBody>
          <a:bodyPr/>
          <a:lstStyle>
            <a:lvl1pPr marL="0" indent="0">
              <a:buNone/>
              <a:defRPr sz="3198"/>
            </a:lvl1pPr>
            <a:lvl2pPr marL="456930" indent="0">
              <a:buNone/>
              <a:defRPr sz="2798"/>
            </a:lvl2pPr>
            <a:lvl3pPr marL="913860" indent="0">
              <a:buNone/>
              <a:defRPr sz="2399"/>
            </a:lvl3pPr>
            <a:lvl4pPr marL="1370790" indent="0">
              <a:buNone/>
              <a:defRPr sz="1999"/>
            </a:lvl4pPr>
            <a:lvl5pPr marL="1827720" indent="0">
              <a:buNone/>
              <a:defRPr sz="1999"/>
            </a:lvl5pPr>
            <a:lvl6pPr marL="2284650" indent="0">
              <a:buNone/>
              <a:defRPr sz="1999"/>
            </a:lvl6pPr>
            <a:lvl7pPr marL="2741580" indent="0">
              <a:buNone/>
              <a:defRPr sz="1999"/>
            </a:lvl7pPr>
            <a:lvl8pPr marL="3198510" indent="0">
              <a:buNone/>
              <a:defRPr sz="1999"/>
            </a:lvl8pPr>
            <a:lvl9pPr marL="3655439" indent="0">
              <a:buNone/>
              <a:defRPr sz="1999"/>
            </a:lvl9pPr>
          </a:lstStyle>
          <a:p>
            <a:endParaRPr lang="el-G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B40B23-76C5-F2A7-1B53-750C0B79EB5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599"/>
            </a:lvl1pPr>
            <a:lvl2pPr marL="456930" indent="0">
              <a:buNone/>
              <a:defRPr sz="1399"/>
            </a:lvl2pPr>
            <a:lvl3pPr marL="913860" indent="0">
              <a:buNone/>
              <a:defRPr sz="1200"/>
            </a:lvl3pPr>
            <a:lvl4pPr marL="1370790" indent="0">
              <a:buNone/>
              <a:defRPr sz="1000"/>
            </a:lvl4pPr>
            <a:lvl5pPr marL="1827720" indent="0">
              <a:buNone/>
              <a:defRPr sz="1000"/>
            </a:lvl5pPr>
            <a:lvl6pPr marL="2284650" indent="0">
              <a:buNone/>
              <a:defRPr sz="1000"/>
            </a:lvl6pPr>
            <a:lvl7pPr marL="2741580" indent="0">
              <a:buNone/>
              <a:defRPr sz="1000"/>
            </a:lvl7pPr>
            <a:lvl8pPr marL="3198510" indent="0">
              <a:buNone/>
              <a:defRPr sz="1000"/>
            </a:lvl8pPr>
            <a:lvl9pPr marL="365543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E71BF44-E29F-DB15-579F-9D0021D00E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EB6348-34C1-90B8-CA31-609E2A57A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EE9B3B-5025-E947-C1C2-582A64BA2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224947801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5DFD13-62C9-2781-9ECF-1E5917E637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2FA385C-714D-8A60-793C-08409F6C48F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F7D8AA-19E1-3656-1F54-E455A02EC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8CF728-91CD-C7F9-F368-DAC6DC6287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EEEE48-1AA5-66B0-2F45-E96DD0CC7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058346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4FC02B-5059-F28D-54DF-B74C2CFA79B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583542-5D40-563A-ABA2-82A6DA46D13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6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A1A891-8CDF-88BA-89A4-1335CCBD3F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014C9B-FF91-C061-824F-5D6AB5BDA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3AC7DF-DA02-3330-F088-49786C5592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224760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B2E73-DB5D-68A3-C3E9-7DEE36479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21584"/>
            <a:ext cx="5337606" cy="91454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14C766-77D8-E720-735C-78B2C3CE82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7" y="1520824"/>
            <a:ext cx="5337607" cy="460851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2942F65-746F-86A9-6A66-6F8AE7E6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7222068-15A5-F627-89E2-0AF8774B5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05D8992F-67B8-A537-BAA3-BF63CBDDC1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C7EB381-927C-00D8-79D8-695D88E62BC4}"/>
              </a:ext>
            </a:extLst>
          </p:cNvPr>
          <p:cNvSpPr/>
          <p:nvPr userDrawn="1"/>
        </p:nvSpPr>
        <p:spPr>
          <a:xfrm>
            <a:off x="0" y="6864662"/>
            <a:ext cx="12192000" cy="6124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l">
              <a:lnSpc>
                <a:spcPct val="90000"/>
              </a:lnSpc>
              <a:spcAft>
                <a:spcPts val="200"/>
              </a:spcAft>
            </a:pPr>
            <a:r>
              <a:rPr lang="en-GB" sz="800" b="1">
                <a:solidFill>
                  <a:schemeClr val="bg1"/>
                </a:solidFill>
              </a:rPr>
              <a:t>To add/change the picture: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Click on the image and press BACKSPACE or DELETE on the keyboard &gt; Click on the icon at the centre of the placeholder &gt; Select the chosen image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To adjust the crop, right-click on the image &gt; Crop</a:t>
            </a:r>
          </a:p>
          <a:p>
            <a:pPr marL="171450" marR="0" lvl="0" indent="-171450" algn="l" defTabSz="142728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If for any reason the image placeholder loses the rounded shape, click on Reset button in the Home tab at the top. </a:t>
            </a:r>
          </a:p>
        </p:txBody>
      </p:sp>
    </p:spTree>
    <p:extLst>
      <p:ext uri="{BB962C8B-B14F-4D97-AF65-F5344CB8AC3E}">
        <p14:creationId xmlns:p14="http://schemas.microsoft.com/office/powerpoint/2010/main" val="229188077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urv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B2E73-DB5D-68A3-C3E9-7DEE36479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21584"/>
            <a:ext cx="8316912" cy="91454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2942F65-746F-86A9-6A66-6F8AE7E6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550C5C9A-1D16-FFEF-6097-B9DE61D482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7" y="1520824"/>
            <a:ext cx="5337607" cy="460851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4293AEE-8A0B-F02F-4F99-9D6101368F8C}"/>
              </a:ext>
            </a:extLst>
          </p:cNvPr>
          <p:cNvSpPr/>
          <p:nvPr userDrawn="1"/>
        </p:nvSpPr>
        <p:spPr>
          <a:xfrm rot="5400000" flipV="1">
            <a:off x="5626590" y="291609"/>
            <a:ext cx="6857019" cy="6273800"/>
          </a:xfrm>
          <a:custGeom>
            <a:avLst/>
            <a:gdLst>
              <a:gd name="connsiteX0" fmla="*/ 0 w 6857019"/>
              <a:gd name="connsiteY0" fmla="*/ 5182176 h 6273800"/>
              <a:gd name="connsiteX1" fmla="*/ 0 w 6857019"/>
              <a:gd name="connsiteY1" fmla="*/ 6273800 h 6273800"/>
              <a:gd name="connsiteX2" fmla="*/ 6857019 w 6857019"/>
              <a:gd name="connsiteY2" fmla="*/ 6273800 h 6273800"/>
              <a:gd name="connsiteX3" fmla="*/ 6857019 w 6857019"/>
              <a:gd name="connsiteY3" fmla="*/ 0 h 6273800"/>
              <a:gd name="connsiteX4" fmla="*/ 6709339 w 6857019"/>
              <a:gd name="connsiteY4" fmla="*/ 3717 h 6273800"/>
              <a:gd name="connsiteX5" fmla="*/ 1066 w 6857019"/>
              <a:gd name="connsiteY5" fmla="*/ 5178987 h 6273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7019" h="6273800">
                <a:moveTo>
                  <a:pt x="0" y="5182176"/>
                </a:moveTo>
                <a:lnTo>
                  <a:pt x="0" y="6273800"/>
                </a:lnTo>
                <a:lnTo>
                  <a:pt x="6857019" y="6273800"/>
                </a:lnTo>
                <a:lnTo>
                  <a:pt x="6857019" y="0"/>
                </a:lnTo>
                <a:lnTo>
                  <a:pt x="6709339" y="3717"/>
                </a:lnTo>
                <a:cubicBezTo>
                  <a:pt x="3634637" y="158810"/>
                  <a:pt x="1040943" y="2263500"/>
                  <a:pt x="1066" y="5178987"/>
                </a:cubicBez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  <a:tileRect/>
          </a:gra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DADF593D-C5A0-E237-2992-7B899B5169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918200" y="1045030"/>
            <a:ext cx="6273800" cy="5812970"/>
          </a:xfrm>
          <a:custGeom>
            <a:avLst/>
            <a:gdLst>
              <a:gd name="connsiteX0" fmla="*/ 6273800 w 6273800"/>
              <a:gd name="connsiteY0" fmla="*/ 0 h 6129338"/>
              <a:gd name="connsiteX1" fmla="*/ 6273800 w 6273800"/>
              <a:gd name="connsiteY1" fmla="*/ 6129338 h 6129338"/>
              <a:gd name="connsiteX2" fmla="*/ 0 w 6273800"/>
              <a:gd name="connsiteY2" fmla="*/ 6129338 h 6129338"/>
              <a:gd name="connsiteX3" fmla="*/ 3109 w 6273800"/>
              <a:gd name="connsiteY3" fmla="*/ 6005777 h 6129338"/>
              <a:gd name="connsiteX4" fmla="*/ 6023794 w 6273800"/>
              <a:gd name="connsiteY4" fmla="*/ 17910 h 6129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273800" h="6129338">
                <a:moveTo>
                  <a:pt x="6273800" y="0"/>
                </a:moveTo>
                <a:lnTo>
                  <a:pt x="6273800" y="6129338"/>
                </a:lnTo>
                <a:lnTo>
                  <a:pt x="0" y="6129338"/>
                </a:lnTo>
                <a:lnTo>
                  <a:pt x="3109" y="6005777"/>
                </a:lnTo>
                <a:cubicBezTo>
                  <a:pt x="161298" y="2869718"/>
                  <a:pt x="2743564" y="331732"/>
                  <a:pt x="6023794" y="1791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7222068-15A5-F627-89E2-0AF8774B5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31C82E-7B5F-4FD3-882E-C1FF210412A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05D8992F-67B8-A537-BAA3-BF63CBDDC1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011929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5E8B9FCB-6141-C177-DCA9-6A915733E8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56" r="956"/>
          <a:stretch/>
        </p:blipFill>
        <p:spPr>
          <a:xfrm>
            <a:off x="10543659" y="371929"/>
            <a:ext cx="1132403" cy="301171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39880332-BC79-CF44-D900-700169EE1F25}"/>
              </a:ext>
            </a:extLst>
          </p:cNvPr>
          <p:cNvSpPr/>
          <p:nvPr userDrawn="1"/>
        </p:nvSpPr>
        <p:spPr>
          <a:xfrm>
            <a:off x="0" y="6864662"/>
            <a:ext cx="12192000" cy="6124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l">
              <a:lnSpc>
                <a:spcPct val="90000"/>
              </a:lnSpc>
              <a:spcAft>
                <a:spcPts val="200"/>
              </a:spcAft>
            </a:pPr>
            <a:r>
              <a:rPr lang="en-GB" sz="800" b="1">
                <a:solidFill>
                  <a:schemeClr val="bg1"/>
                </a:solidFill>
              </a:rPr>
              <a:t>To add/change the picture: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Click on the image and press BACKSPACE or DELETE on the keyboard &gt; Click on the icon at the centre of the placeholder &gt; Select the chosen image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To adjust the crop, right-click on the image &gt; Crop</a:t>
            </a:r>
          </a:p>
          <a:p>
            <a:pPr marL="171450" marR="0" lvl="0" indent="-171450" algn="l" defTabSz="142728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If for any reason the image placeholder loses the rounded shape, click on Reset button in the Home tab at the top. </a:t>
            </a:r>
          </a:p>
        </p:txBody>
      </p:sp>
    </p:spTree>
    <p:extLst>
      <p:ext uri="{BB962C8B-B14F-4D97-AF65-F5344CB8AC3E}">
        <p14:creationId xmlns:p14="http://schemas.microsoft.com/office/powerpoint/2010/main" val="325103872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 Conten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9B2E73-DB5D-68A3-C3E9-7DEE36479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14C766-77D8-E720-735C-78B2C3CE82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15937" y="1520824"/>
            <a:ext cx="7278442" cy="460851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1496DD4-8084-751E-EA90-18FD692DF9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279290" y="1520824"/>
            <a:ext cx="3396772" cy="460851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2942F65-746F-86A9-6A66-6F8AE7E6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7222068-15A5-F627-89E2-0AF8774B5A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5">
            <a:extLst>
              <a:ext uri="{FF2B5EF4-FFF2-40B4-BE49-F238E27FC236}">
                <a16:creationId xmlns:a16="http://schemas.microsoft.com/office/drawing/2014/main" id="{05D8992F-67B8-A537-BAA3-BF63CBDDC1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  <p:pic>
        <p:nvPicPr>
          <p:cNvPr id="7" name="Picture 6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7AC9A477-9C3C-BA64-7FCE-5D223C3AA5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t="51505"/>
          <a:stretch/>
        </p:blipFill>
        <p:spPr>
          <a:xfrm rot="5400000">
            <a:off x="5527621" y="3620132"/>
            <a:ext cx="4608519" cy="4099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679003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Rectangle: Rounded Corners 56">
            <a:extLst>
              <a:ext uri="{FF2B5EF4-FFF2-40B4-BE49-F238E27FC236}">
                <a16:creationId xmlns:a16="http://schemas.microsoft.com/office/drawing/2014/main" id="{15877984-D22F-B8EF-A26F-1EB08557D2D3}"/>
              </a:ext>
            </a:extLst>
          </p:cNvPr>
          <p:cNvSpPr>
            <a:spLocks/>
          </p:cNvSpPr>
          <p:nvPr userDrawn="1"/>
        </p:nvSpPr>
        <p:spPr>
          <a:xfrm>
            <a:off x="515938" y="1871132"/>
            <a:ext cx="5522912" cy="2071952"/>
          </a:xfrm>
          <a:prstGeom prst="roundRect">
            <a:avLst>
              <a:gd name="adj" fmla="val 6998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8" name="Rectangle: Rounded Corners 57">
            <a:extLst>
              <a:ext uri="{FF2B5EF4-FFF2-40B4-BE49-F238E27FC236}">
                <a16:creationId xmlns:a16="http://schemas.microsoft.com/office/drawing/2014/main" id="{CF203632-757C-B0FD-56EB-C3B1633830F2}"/>
              </a:ext>
            </a:extLst>
          </p:cNvPr>
          <p:cNvSpPr>
            <a:spLocks/>
          </p:cNvSpPr>
          <p:nvPr userDrawn="1"/>
        </p:nvSpPr>
        <p:spPr>
          <a:xfrm>
            <a:off x="6153150" y="1871132"/>
            <a:ext cx="5522912" cy="2071952"/>
          </a:xfrm>
          <a:prstGeom prst="roundRect">
            <a:avLst>
              <a:gd name="adj" fmla="val 6998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37CA1AF6-FA7D-1B1D-D7F5-7767CE2E3585}"/>
              </a:ext>
            </a:extLst>
          </p:cNvPr>
          <p:cNvSpPr>
            <a:spLocks/>
          </p:cNvSpPr>
          <p:nvPr userDrawn="1"/>
        </p:nvSpPr>
        <p:spPr>
          <a:xfrm>
            <a:off x="515938" y="4057384"/>
            <a:ext cx="5522912" cy="2071952"/>
          </a:xfrm>
          <a:prstGeom prst="roundRect">
            <a:avLst>
              <a:gd name="adj" fmla="val 6998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59106FB6-CE2A-7BD0-831C-093FB037CC85}"/>
              </a:ext>
            </a:extLst>
          </p:cNvPr>
          <p:cNvSpPr>
            <a:spLocks/>
          </p:cNvSpPr>
          <p:nvPr userDrawn="1"/>
        </p:nvSpPr>
        <p:spPr>
          <a:xfrm>
            <a:off x="6153150" y="4057384"/>
            <a:ext cx="5522912" cy="2071952"/>
          </a:xfrm>
          <a:prstGeom prst="roundRect">
            <a:avLst>
              <a:gd name="adj" fmla="val 6998"/>
            </a:avLst>
          </a:pr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A9B2E73-DB5D-68A3-C3E9-7DEE36479C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71EB4D10-D226-FAC6-E877-FB84BEE331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5938" y="1520825"/>
            <a:ext cx="11160125" cy="35083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  <a:endParaRPr lang="en-GB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B539379C-FE46-B613-FD97-1C861C51DA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95304" y="2004764"/>
            <a:ext cx="5158240" cy="18046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5AFB8C8-C5D3-06D2-A2DD-C0616D7CE87D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335486" y="2004764"/>
            <a:ext cx="5158240" cy="18046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673C4EF7-5C82-08A0-7E37-9F674970B485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695304" y="4191016"/>
            <a:ext cx="5158240" cy="18046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77622FCA-C89C-B1B2-49C3-33687460D707}"/>
              </a:ext>
            </a:extLst>
          </p:cNvPr>
          <p:cNvSpPr>
            <a:spLocks noGrp="1"/>
          </p:cNvSpPr>
          <p:nvPr>
            <p:ph sz="half" idx="17"/>
          </p:nvPr>
        </p:nvSpPr>
        <p:spPr>
          <a:xfrm>
            <a:off x="6335486" y="4191016"/>
            <a:ext cx="5158240" cy="1804688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1" name="Footer Placeholder 4">
            <a:extLst>
              <a:ext uri="{FF2B5EF4-FFF2-40B4-BE49-F238E27FC236}">
                <a16:creationId xmlns:a16="http://schemas.microsoft.com/office/drawing/2014/main" id="{424A4C3B-A92C-5033-0C72-5504692AD9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62" name="Slide Number Placeholder 5">
            <a:extLst>
              <a:ext uri="{FF2B5EF4-FFF2-40B4-BE49-F238E27FC236}">
                <a16:creationId xmlns:a16="http://schemas.microsoft.com/office/drawing/2014/main" id="{D350C920-E298-698D-C1EF-81814E3DD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63" name="Text Placeholder 15">
            <a:extLst>
              <a:ext uri="{FF2B5EF4-FFF2-40B4-BE49-F238E27FC236}">
                <a16:creationId xmlns:a16="http://schemas.microsoft.com/office/drawing/2014/main" id="{3E1D478A-4F03-ED84-3B50-F6BEF555C7C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47806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s + Six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E92F32AF-613F-8E6A-1594-6EFA756F8C1F}"/>
              </a:ext>
            </a:extLst>
          </p:cNvPr>
          <p:cNvSpPr>
            <a:spLocks/>
          </p:cNvSpPr>
          <p:nvPr userDrawn="1"/>
        </p:nvSpPr>
        <p:spPr>
          <a:xfrm>
            <a:off x="515937" y="1520825"/>
            <a:ext cx="3600000" cy="2511117"/>
          </a:xfrm>
          <a:custGeom>
            <a:avLst/>
            <a:gdLst>
              <a:gd name="connsiteX0" fmla="*/ 175728 w 3600000"/>
              <a:gd name="connsiteY0" fmla="*/ 0 h 2511117"/>
              <a:gd name="connsiteX1" fmla="*/ 3424272 w 3600000"/>
              <a:gd name="connsiteY1" fmla="*/ 0 h 2511117"/>
              <a:gd name="connsiteX2" fmla="*/ 3424277 w 3600000"/>
              <a:gd name="connsiteY2" fmla="*/ 1 h 2511117"/>
              <a:gd name="connsiteX3" fmla="*/ 3600000 w 3600000"/>
              <a:gd name="connsiteY3" fmla="*/ 1 h 2511117"/>
              <a:gd name="connsiteX4" fmla="*/ 3600000 w 3600000"/>
              <a:gd name="connsiteY4" fmla="*/ 175728 h 2511117"/>
              <a:gd name="connsiteX5" fmla="*/ 3600000 w 3600000"/>
              <a:gd name="connsiteY5" fmla="*/ 429895 h 2511117"/>
              <a:gd name="connsiteX6" fmla="*/ 3600000 w 3600000"/>
              <a:gd name="connsiteY6" fmla="*/ 2335389 h 2511117"/>
              <a:gd name="connsiteX7" fmla="*/ 3424272 w 3600000"/>
              <a:gd name="connsiteY7" fmla="*/ 2511117 h 2511117"/>
              <a:gd name="connsiteX8" fmla="*/ 175728 w 3600000"/>
              <a:gd name="connsiteY8" fmla="*/ 2511117 h 2511117"/>
              <a:gd name="connsiteX9" fmla="*/ 0 w 3600000"/>
              <a:gd name="connsiteY9" fmla="*/ 2335389 h 2511117"/>
              <a:gd name="connsiteX10" fmla="*/ 0 w 3600000"/>
              <a:gd name="connsiteY10" fmla="*/ 429895 h 2511117"/>
              <a:gd name="connsiteX11" fmla="*/ 0 w 3600000"/>
              <a:gd name="connsiteY11" fmla="*/ 175728 h 2511117"/>
              <a:gd name="connsiteX12" fmla="*/ 0 w 3600000"/>
              <a:gd name="connsiteY12" fmla="*/ 1 h 2511117"/>
              <a:gd name="connsiteX13" fmla="*/ 175723 w 3600000"/>
              <a:gd name="connsiteY13" fmla="*/ 1 h 251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00000" h="2511117">
                <a:moveTo>
                  <a:pt x="175728" y="0"/>
                </a:moveTo>
                <a:lnTo>
                  <a:pt x="3424272" y="0"/>
                </a:lnTo>
                <a:lnTo>
                  <a:pt x="3424277" y="1"/>
                </a:lnTo>
                <a:lnTo>
                  <a:pt x="3600000" y="1"/>
                </a:lnTo>
                <a:lnTo>
                  <a:pt x="3600000" y="175728"/>
                </a:lnTo>
                <a:lnTo>
                  <a:pt x="3600000" y="429895"/>
                </a:lnTo>
                <a:lnTo>
                  <a:pt x="3600000" y="2335389"/>
                </a:lnTo>
                <a:cubicBezTo>
                  <a:pt x="3600000" y="2432441"/>
                  <a:pt x="3521324" y="2511117"/>
                  <a:pt x="3424272" y="2511117"/>
                </a:cubicBezTo>
                <a:lnTo>
                  <a:pt x="175728" y="2511117"/>
                </a:lnTo>
                <a:cubicBezTo>
                  <a:pt x="78676" y="2511117"/>
                  <a:pt x="0" y="2432441"/>
                  <a:pt x="0" y="2335389"/>
                </a:cubicBezTo>
                <a:lnTo>
                  <a:pt x="0" y="429895"/>
                </a:lnTo>
                <a:lnTo>
                  <a:pt x="0" y="175728"/>
                </a:lnTo>
                <a:lnTo>
                  <a:pt x="0" y="1"/>
                </a:lnTo>
                <a:lnTo>
                  <a:pt x="175723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5" name="Freeform: Shape 94">
            <a:extLst>
              <a:ext uri="{FF2B5EF4-FFF2-40B4-BE49-F238E27FC236}">
                <a16:creationId xmlns:a16="http://schemas.microsoft.com/office/drawing/2014/main" id="{FB00A118-274C-FA1D-4B5C-993EFC52273C}"/>
              </a:ext>
            </a:extLst>
          </p:cNvPr>
          <p:cNvSpPr>
            <a:spLocks/>
          </p:cNvSpPr>
          <p:nvPr userDrawn="1"/>
        </p:nvSpPr>
        <p:spPr>
          <a:xfrm>
            <a:off x="4296000" y="1520825"/>
            <a:ext cx="3600000" cy="2511117"/>
          </a:xfrm>
          <a:custGeom>
            <a:avLst/>
            <a:gdLst>
              <a:gd name="connsiteX0" fmla="*/ 175728 w 3600000"/>
              <a:gd name="connsiteY0" fmla="*/ 0 h 2511117"/>
              <a:gd name="connsiteX1" fmla="*/ 3424272 w 3600000"/>
              <a:gd name="connsiteY1" fmla="*/ 0 h 2511117"/>
              <a:gd name="connsiteX2" fmla="*/ 3424277 w 3600000"/>
              <a:gd name="connsiteY2" fmla="*/ 1 h 2511117"/>
              <a:gd name="connsiteX3" fmla="*/ 3600000 w 3600000"/>
              <a:gd name="connsiteY3" fmla="*/ 1 h 2511117"/>
              <a:gd name="connsiteX4" fmla="*/ 3600000 w 3600000"/>
              <a:gd name="connsiteY4" fmla="*/ 175728 h 2511117"/>
              <a:gd name="connsiteX5" fmla="*/ 3600000 w 3600000"/>
              <a:gd name="connsiteY5" fmla="*/ 429895 h 2511117"/>
              <a:gd name="connsiteX6" fmla="*/ 3600000 w 3600000"/>
              <a:gd name="connsiteY6" fmla="*/ 2335389 h 2511117"/>
              <a:gd name="connsiteX7" fmla="*/ 3424272 w 3600000"/>
              <a:gd name="connsiteY7" fmla="*/ 2511117 h 2511117"/>
              <a:gd name="connsiteX8" fmla="*/ 175728 w 3600000"/>
              <a:gd name="connsiteY8" fmla="*/ 2511117 h 2511117"/>
              <a:gd name="connsiteX9" fmla="*/ 0 w 3600000"/>
              <a:gd name="connsiteY9" fmla="*/ 2335389 h 2511117"/>
              <a:gd name="connsiteX10" fmla="*/ 0 w 3600000"/>
              <a:gd name="connsiteY10" fmla="*/ 429895 h 2511117"/>
              <a:gd name="connsiteX11" fmla="*/ 0 w 3600000"/>
              <a:gd name="connsiteY11" fmla="*/ 175728 h 2511117"/>
              <a:gd name="connsiteX12" fmla="*/ 0 w 3600000"/>
              <a:gd name="connsiteY12" fmla="*/ 1 h 2511117"/>
              <a:gd name="connsiteX13" fmla="*/ 175723 w 3600000"/>
              <a:gd name="connsiteY13" fmla="*/ 1 h 251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00000" h="2511117">
                <a:moveTo>
                  <a:pt x="175728" y="0"/>
                </a:moveTo>
                <a:lnTo>
                  <a:pt x="3424272" y="0"/>
                </a:lnTo>
                <a:lnTo>
                  <a:pt x="3424277" y="1"/>
                </a:lnTo>
                <a:lnTo>
                  <a:pt x="3600000" y="1"/>
                </a:lnTo>
                <a:lnTo>
                  <a:pt x="3600000" y="175728"/>
                </a:lnTo>
                <a:lnTo>
                  <a:pt x="3600000" y="429895"/>
                </a:lnTo>
                <a:lnTo>
                  <a:pt x="3600000" y="2335389"/>
                </a:lnTo>
                <a:cubicBezTo>
                  <a:pt x="3600000" y="2432441"/>
                  <a:pt x="3521324" y="2511117"/>
                  <a:pt x="3424272" y="2511117"/>
                </a:cubicBezTo>
                <a:lnTo>
                  <a:pt x="175728" y="2511117"/>
                </a:lnTo>
                <a:cubicBezTo>
                  <a:pt x="78676" y="2511117"/>
                  <a:pt x="0" y="2432441"/>
                  <a:pt x="0" y="2335389"/>
                </a:cubicBezTo>
                <a:lnTo>
                  <a:pt x="0" y="429895"/>
                </a:lnTo>
                <a:lnTo>
                  <a:pt x="0" y="175728"/>
                </a:lnTo>
                <a:lnTo>
                  <a:pt x="0" y="1"/>
                </a:lnTo>
                <a:lnTo>
                  <a:pt x="175723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96" name="Freeform: Shape 95">
            <a:extLst>
              <a:ext uri="{FF2B5EF4-FFF2-40B4-BE49-F238E27FC236}">
                <a16:creationId xmlns:a16="http://schemas.microsoft.com/office/drawing/2014/main" id="{928BDBE4-613C-1EB9-FCAC-D892B8A162F8}"/>
              </a:ext>
            </a:extLst>
          </p:cNvPr>
          <p:cNvSpPr>
            <a:spLocks/>
          </p:cNvSpPr>
          <p:nvPr userDrawn="1"/>
        </p:nvSpPr>
        <p:spPr>
          <a:xfrm>
            <a:off x="8076063" y="1520825"/>
            <a:ext cx="3600000" cy="2511117"/>
          </a:xfrm>
          <a:custGeom>
            <a:avLst/>
            <a:gdLst>
              <a:gd name="connsiteX0" fmla="*/ 175728 w 3600000"/>
              <a:gd name="connsiteY0" fmla="*/ 0 h 2511117"/>
              <a:gd name="connsiteX1" fmla="*/ 3424272 w 3600000"/>
              <a:gd name="connsiteY1" fmla="*/ 0 h 2511117"/>
              <a:gd name="connsiteX2" fmla="*/ 3424277 w 3600000"/>
              <a:gd name="connsiteY2" fmla="*/ 1 h 2511117"/>
              <a:gd name="connsiteX3" fmla="*/ 3600000 w 3600000"/>
              <a:gd name="connsiteY3" fmla="*/ 1 h 2511117"/>
              <a:gd name="connsiteX4" fmla="*/ 3600000 w 3600000"/>
              <a:gd name="connsiteY4" fmla="*/ 175728 h 2511117"/>
              <a:gd name="connsiteX5" fmla="*/ 3600000 w 3600000"/>
              <a:gd name="connsiteY5" fmla="*/ 429895 h 2511117"/>
              <a:gd name="connsiteX6" fmla="*/ 3600000 w 3600000"/>
              <a:gd name="connsiteY6" fmla="*/ 2335389 h 2511117"/>
              <a:gd name="connsiteX7" fmla="*/ 3424272 w 3600000"/>
              <a:gd name="connsiteY7" fmla="*/ 2511117 h 2511117"/>
              <a:gd name="connsiteX8" fmla="*/ 175728 w 3600000"/>
              <a:gd name="connsiteY8" fmla="*/ 2511117 h 2511117"/>
              <a:gd name="connsiteX9" fmla="*/ 0 w 3600000"/>
              <a:gd name="connsiteY9" fmla="*/ 2335389 h 2511117"/>
              <a:gd name="connsiteX10" fmla="*/ 0 w 3600000"/>
              <a:gd name="connsiteY10" fmla="*/ 429895 h 2511117"/>
              <a:gd name="connsiteX11" fmla="*/ 0 w 3600000"/>
              <a:gd name="connsiteY11" fmla="*/ 175728 h 2511117"/>
              <a:gd name="connsiteX12" fmla="*/ 0 w 3600000"/>
              <a:gd name="connsiteY12" fmla="*/ 1 h 2511117"/>
              <a:gd name="connsiteX13" fmla="*/ 175723 w 3600000"/>
              <a:gd name="connsiteY13" fmla="*/ 1 h 251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600000" h="2511117">
                <a:moveTo>
                  <a:pt x="175728" y="0"/>
                </a:moveTo>
                <a:lnTo>
                  <a:pt x="3424272" y="0"/>
                </a:lnTo>
                <a:lnTo>
                  <a:pt x="3424277" y="1"/>
                </a:lnTo>
                <a:lnTo>
                  <a:pt x="3600000" y="1"/>
                </a:lnTo>
                <a:lnTo>
                  <a:pt x="3600000" y="175728"/>
                </a:lnTo>
                <a:lnTo>
                  <a:pt x="3600000" y="429895"/>
                </a:lnTo>
                <a:lnTo>
                  <a:pt x="3600000" y="2335389"/>
                </a:lnTo>
                <a:cubicBezTo>
                  <a:pt x="3600000" y="2432441"/>
                  <a:pt x="3521324" y="2511117"/>
                  <a:pt x="3424272" y="2511117"/>
                </a:cubicBezTo>
                <a:lnTo>
                  <a:pt x="175728" y="2511117"/>
                </a:lnTo>
                <a:cubicBezTo>
                  <a:pt x="78676" y="2511117"/>
                  <a:pt x="0" y="2432441"/>
                  <a:pt x="0" y="2335389"/>
                </a:cubicBezTo>
                <a:lnTo>
                  <a:pt x="0" y="429895"/>
                </a:lnTo>
                <a:lnTo>
                  <a:pt x="0" y="175728"/>
                </a:lnTo>
                <a:lnTo>
                  <a:pt x="0" y="1"/>
                </a:lnTo>
                <a:lnTo>
                  <a:pt x="175723" y="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FFCE10-EC40-9D5E-2B3E-71A5020C8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5014E5-5130-7C05-89A7-0E2ED6E6267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95AE93-BB88-F636-8AC3-B5EE1859B42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>
            <a:noAutofit/>
          </a:bodyPr>
          <a:lstStyle/>
          <a:p>
            <a:fld id="{D631C82E-7B5F-4FD3-882E-C1FF210412A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73C62AC8-A47F-FC30-0284-32A1CAD5512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296001" y="1684422"/>
            <a:ext cx="3595761" cy="2347520"/>
          </a:xfrm>
          <a:custGeom>
            <a:avLst/>
            <a:gdLst>
              <a:gd name="connsiteX0" fmla="*/ 0 w 3595761"/>
              <a:gd name="connsiteY0" fmla="*/ 0 h 2347520"/>
              <a:gd name="connsiteX1" fmla="*/ 3595761 w 3595761"/>
              <a:gd name="connsiteY1" fmla="*/ 0 h 2347520"/>
              <a:gd name="connsiteX2" fmla="*/ 3595761 w 3595761"/>
              <a:gd name="connsiteY2" fmla="*/ 2192789 h 2347520"/>
              <a:gd name="connsiteX3" fmla="*/ 3586191 w 3595761"/>
              <a:gd name="connsiteY3" fmla="*/ 2240193 h 2347520"/>
              <a:gd name="connsiteX4" fmla="*/ 3424272 w 3595761"/>
              <a:gd name="connsiteY4" fmla="*/ 2347520 h 2347520"/>
              <a:gd name="connsiteX5" fmla="*/ 175728 w 3595761"/>
              <a:gd name="connsiteY5" fmla="*/ 2347520 h 2347520"/>
              <a:gd name="connsiteX6" fmla="*/ 0 w 3595761"/>
              <a:gd name="connsiteY6" fmla="*/ 2171792 h 2347520"/>
              <a:gd name="connsiteX7" fmla="*/ 0 w 3595761"/>
              <a:gd name="connsiteY7" fmla="*/ 266298 h 2347520"/>
              <a:gd name="connsiteX8" fmla="*/ 0 w 3595761"/>
              <a:gd name="connsiteY8" fmla="*/ 12131 h 2347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95761" h="2347520">
                <a:moveTo>
                  <a:pt x="0" y="0"/>
                </a:moveTo>
                <a:lnTo>
                  <a:pt x="3595761" y="0"/>
                </a:lnTo>
                <a:lnTo>
                  <a:pt x="3595761" y="2192789"/>
                </a:lnTo>
                <a:lnTo>
                  <a:pt x="3586191" y="2240193"/>
                </a:lnTo>
                <a:cubicBezTo>
                  <a:pt x="3559514" y="2303265"/>
                  <a:pt x="3497061" y="2347520"/>
                  <a:pt x="3424272" y="2347520"/>
                </a:cubicBezTo>
                <a:lnTo>
                  <a:pt x="175728" y="2347520"/>
                </a:lnTo>
                <a:cubicBezTo>
                  <a:pt x="78677" y="2347520"/>
                  <a:pt x="0" y="2268844"/>
                  <a:pt x="0" y="2171792"/>
                </a:cubicBezTo>
                <a:lnTo>
                  <a:pt x="0" y="266298"/>
                </a:lnTo>
                <a:lnTo>
                  <a:pt x="0" y="12131"/>
                </a:ln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90" name="Picture Placeholder 89">
            <a:extLst>
              <a:ext uri="{FF2B5EF4-FFF2-40B4-BE49-F238E27FC236}">
                <a16:creationId xmlns:a16="http://schemas.microsoft.com/office/drawing/2014/main" id="{9286EF78-04FC-E34C-7684-EADE70648C1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15937" y="1684422"/>
            <a:ext cx="3600000" cy="2347520"/>
          </a:xfrm>
          <a:custGeom>
            <a:avLst/>
            <a:gdLst>
              <a:gd name="connsiteX0" fmla="*/ 0 w 3600000"/>
              <a:gd name="connsiteY0" fmla="*/ 0 h 2347520"/>
              <a:gd name="connsiteX1" fmla="*/ 3600000 w 3600000"/>
              <a:gd name="connsiteY1" fmla="*/ 0 h 2347520"/>
              <a:gd name="connsiteX2" fmla="*/ 3600000 w 3600000"/>
              <a:gd name="connsiteY2" fmla="*/ 12131 h 2347520"/>
              <a:gd name="connsiteX3" fmla="*/ 3600000 w 3600000"/>
              <a:gd name="connsiteY3" fmla="*/ 266298 h 2347520"/>
              <a:gd name="connsiteX4" fmla="*/ 3600000 w 3600000"/>
              <a:gd name="connsiteY4" fmla="*/ 2171792 h 2347520"/>
              <a:gd name="connsiteX5" fmla="*/ 3424272 w 3600000"/>
              <a:gd name="connsiteY5" fmla="*/ 2347520 h 2347520"/>
              <a:gd name="connsiteX6" fmla="*/ 175728 w 3600000"/>
              <a:gd name="connsiteY6" fmla="*/ 2347520 h 2347520"/>
              <a:gd name="connsiteX7" fmla="*/ 0 w 3600000"/>
              <a:gd name="connsiteY7" fmla="*/ 2171792 h 2347520"/>
              <a:gd name="connsiteX8" fmla="*/ 0 w 3600000"/>
              <a:gd name="connsiteY8" fmla="*/ 266298 h 2347520"/>
              <a:gd name="connsiteX9" fmla="*/ 0 w 3600000"/>
              <a:gd name="connsiteY9" fmla="*/ 12131 h 2347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00000" h="2347520">
                <a:moveTo>
                  <a:pt x="0" y="0"/>
                </a:moveTo>
                <a:lnTo>
                  <a:pt x="3600000" y="0"/>
                </a:lnTo>
                <a:lnTo>
                  <a:pt x="3600000" y="12131"/>
                </a:lnTo>
                <a:lnTo>
                  <a:pt x="3600000" y="266298"/>
                </a:lnTo>
                <a:lnTo>
                  <a:pt x="3600000" y="2171792"/>
                </a:lnTo>
                <a:cubicBezTo>
                  <a:pt x="3600000" y="2268844"/>
                  <a:pt x="3521324" y="2347520"/>
                  <a:pt x="3424272" y="2347520"/>
                </a:cubicBezTo>
                <a:lnTo>
                  <a:pt x="175728" y="2347520"/>
                </a:lnTo>
                <a:cubicBezTo>
                  <a:pt x="78676" y="2347520"/>
                  <a:pt x="0" y="2268844"/>
                  <a:pt x="0" y="2171792"/>
                </a:cubicBezTo>
                <a:lnTo>
                  <a:pt x="0" y="266298"/>
                </a:lnTo>
                <a:lnTo>
                  <a:pt x="0" y="12131"/>
                </a:ln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EB49C1B7-FBA6-10D8-AAE6-EC3459E8593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076063" y="1684422"/>
            <a:ext cx="3600000" cy="2347520"/>
          </a:xfrm>
          <a:custGeom>
            <a:avLst/>
            <a:gdLst>
              <a:gd name="connsiteX0" fmla="*/ 0 w 3600000"/>
              <a:gd name="connsiteY0" fmla="*/ 0 h 2347520"/>
              <a:gd name="connsiteX1" fmla="*/ 3600000 w 3600000"/>
              <a:gd name="connsiteY1" fmla="*/ 0 h 2347520"/>
              <a:gd name="connsiteX2" fmla="*/ 3600000 w 3600000"/>
              <a:gd name="connsiteY2" fmla="*/ 12131 h 2347520"/>
              <a:gd name="connsiteX3" fmla="*/ 3600000 w 3600000"/>
              <a:gd name="connsiteY3" fmla="*/ 266298 h 2347520"/>
              <a:gd name="connsiteX4" fmla="*/ 3600000 w 3600000"/>
              <a:gd name="connsiteY4" fmla="*/ 2171792 h 2347520"/>
              <a:gd name="connsiteX5" fmla="*/ 3424272 w 3600000"/>
              <a:gd name="connsiteY5" fmla="*/ 2347520 h 2347520"/>
              <a:gd name="connsiteX6" fmla="*/ 175728 w 3600000"/>
              <a:gd name="connsiteY6" fmla="*/ 2347520 h 2347520"/>
              <a:gd name="connsiteX7" fmla="*/ 0 w 3600000"/>
              <a:gd name="connsiteY7" fmla="*/ 2171792 h 2347520"/>
              <a:gd name="connsiteX8" fmla="*/ 0 w 3600000"/>
              <a:gd name="connsiteY8" fmla="*/ 266298 h 2347520"/>
              <a:gd name="connsiteX9" fmla="*/ 0 w 3600000"/>
              <a:gd name="connsiteY9" fmla="*/ 12131 h 2347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00000" h="2347520">
                <a:moveTo>
                  <a:pt x="0" y="0"/>
                </a:moveTo>
                <a:lnTo>
                  <a:pt x="3600000" y="0"/>
                </a:lnTo>
                <a:lnTo>
                  <a:pt x="3600000" y="12131"/>
                </a:lnTo>
                <a:lnTo>
                  <a:pt x="3600000" y="266298"/>
                </a:lnTo>
                <a:lnTo>
                  <a:pt x="3600000" y="2171792"/>
                </a:lnTo>
                <a:cubicBezTo>
                  <a:pt x="3600000" y="2268844"/>
                  <a:pt x="3521324" y="2347520"/>
                  <a:pt x="3424272" y="2347520"/>
                </a:cubicBezTo>
                <a:lnTo>
                  <a:pt x="175728" y="2347520"/>
                </a:lnTo>
                <a:cubicBezTo>
                  <a:pt x="78676" y="2347520"/>
                  <a:pt x="0" y="2268844"/>
                  <a:pt x="0" y="2171792"/>
                </a:cubicBezTo>
                <a:lnTo>
                  <a:pt x="0" y="266298"/>
                </a:lnTo>
                <a:lnTo>
                  <a:pt x="0" y="12131"/>
                </a:ln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33371AEA-BE57-17D4-2BD5-7B9853CAB38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60404" y="4254500"/>
            <a:ext cx="1563155" cy="18748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3" name="Text Placeholder 50">
            <a:extLst>
              <a:ext uri="{FF2B5EF4-FFF2-40B4-BE49-F238E27FC236}">
                <a16:creationId xmlns:a16="http://schemas.microsoft.com/office/drawing/2014/main" id="{820F142D-765A-6B82-9C90-A646F67C653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550905" y="4254500"/>
            <a:ext cx="1563155" cy="18748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5" name="Text Placeholder 50">
            <a:extLst>
              <a:ext uri="{FF2B5EF4-FFF2-40B4-BE49-F238E27FC236}">
                <a16:creationId xmlns:a16="http://schemas.microsoft.com/office/drawing/2014/main" id="{1E85C46C-D132-B34C-42E6-91689A66D1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36228" y="4254500"/>
            <a:ext cx="1563155" cy="18748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7" name="Text Placeholder 50">
            <a:extLst>
              <a:ext uri="{FF2B5EF4-FFF2-40B4-BE49-F238E27FC236}">
                <a16:creationId xmlns:a16="http://schemas.microsoft.com/office/drawing/2014/main" id="{D33D7A74-05E6-33FB-4021-AD379B44DB5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31907" y="4254500"/>
            <a:ext cx="1563155" cy="18748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9" name="Text Placeholder 50">
            <a:extLst>
              <a:ext uri="{FF2B5EF4-FFF2-40B4-BE49-F238E27FC236}">
                <a16:creationId xmlns:a16="http://schemas.microsoft.com/office/drawing/2014/main" id="{4891084A-2EDC-7700-D37F-05B09F72892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22407" y="4254500"/>
            <a:ext cx="1563155" cy="18748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1" name="Text Placeholder 50">
            <a:extLst>
              <a:ext uri="{FF2B5EF4-FFF2-40B4-BE49-F238E27FC236}">
                <a16:creationId xmlns:a16="http://schemas.microsoft.com/office/drawing/2014/main" id="{2E5702F8-2B5B-D905-E681-EF420EB52C46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112908" y="4254500"/>
            <a:ext cx="1563155" cy="1874838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>
              <a:defRPr sz="1100"/>
            </a:lvl3pPr>
            <a:lvl4pPr>
              <a:defRPr sz="105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0" name="Freeform: Shape 77">
            <a:extLst>
              <a:ext uri="{FF2B5EF4-FFF2-40B4-BE49-F238E27FC236}">
                <a16:creationId xmlns:a16="http://schemas.microsoft.com/office/drawing/2014/main" id="{3E8C4E80-78A9-C8C6-C231-6FF154DE05EB}"/>
              </a:ext>
            </a:extLst>
          </p:cNvPr>
          <p:cNvSpPr/>
          <p:nvPr userDrawn="1"/>
        </p:nvSpPr>
        <p:spPr>
          <a:xfrm>
            <a:off x="515936" y="1520826"/>
            <a:ext cx="3598855" cy="163596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5000"/>
                </a:schemeClr>
              </a:gs>
              <a:gs pos="100000">
                <a:schemeClr val="accent1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81" name="Freeform: Shape 78">
            <a:extLst>
              <a:ext uri="{FF2B5EF4-FFF2-40B4-BE49-F238E27FC236}">
                <a16:creationId xmlns:a16="http://schemas.microsoft.com/office/drawing/2014/main" id="{2D829433-C7C0-8209-7EBF-0A60DEBD0840}"/>
              </a:ext>
            </a:extLst>
          </p:cNvPr>
          <p:cNvSpPr/>
          <p:nvPr userDrawn="1"/>
        </p:nvSpPr>
        <p:spPr>
          <a:xfrm>
            <a:off x="4291761" y="1520826"/>
            <a:ext cx="3598855" cy="1635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alpha val="95000"/>
                </a:schemeClr>
              </a:gs>
              <a:gs pos="100000">
                <a:schemeClr val="accent2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gradFill>
                <a:gsLst>
                  <a:gs pos="0">
                    <a:schemeClr val="accent2">
                      <a:lumMod val="75000"/>
                      <a:alpha val="95000"/>
                    </a:schemeClr>
                  </a:gs>
                  <a:gs pos="100000">
                    <a:schemeClr val="accent2">
                      <a:alpha val="60000"/>
                    </a:schemeClr>
                  </a:gs>
                </a:gsLst>
                <a:lin ang="0" scaled="1"/>
              </a:gradFill>
            </a:endParaRPr>
          </a:p>
        </p:txBody>
      </p:sp>
      <p:sp>
        <p:nvSpPr>
          <p:cNvPr id="82" name="Freeform: Shape 79">
            <a:extLst>
              <a:ext uri="{FF2B5EF4-FFF2-40B4-BE49-F238E27FC236}">
                <a16:creationId xmlns:a16="http://schemas.microsoft.com/office/drawing/2014/main" id="{31035654-F343-483B-6CF0-3628B6A11197}"/>
              </a:ext>
            </a:extLst>
          </p:cNvPr>
          <p:cNvSpPr/>
          <p:nvPr userDrawn="1"/>
        </p:nvSpPr>
        <p:spPr>
          <a:xfrm>
            <a:off x="8077940" y="1520826"/>
            <a:ext cx="3598855" cy="163596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alpha val="95000"/>
                </a:schemeClr>
              </a:gs>
              <a:gs pos="100000">
                <a:schemeClr val="accent3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97" name="Picture 96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C5840BB5-CD29-9969-4422-59582B726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t="51505"/>
          <a:stretch/>
        </p:blipFill>
        <p:spPr>
          <a:xfrm rot="5400000">
            <a:off x="-648660" y="4964743"/>
            <a:ext cx="1919288" cy="409905"/>
          </a:xfrm>
          <a:prstGeom prst="rect">
            <a:avLst/>
          </a:prstGeom>
        </p:spPr>
      </p:pic>
      <p:pic>
        <p:nvPicPr>
          <p:cNvPr id="98" name="Picture 97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64D4411E-7544-CAFD-15F9-36368E9036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t="51505"/>
          <a:stretch/>
        </p:blipFill>
        <p:spPr>
          <a:xfrm rot="5400000">
            <a:off x="1241841" y="4964743"/>
            <a:ext cx="1919288" cy="409905"/>
          </a:xfrm>
          <a:prstGeom prst="rect">
            <a:avLst/>
          </a:prstGeom>
        </p:spPr>
      </p:pic>
      <p:pic>
        <p:nvPicPr>
          <p:cNvPr id="99" name="Picture 98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9AA68D2E-0324-653F-0231-E7FF65F14E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t="51505"/>
          <a:stretch/>
        </p:blipFill>
        <p:spPr>
          <a:xfrm rot="5400000">
            <a:off x="3127164" y="4964744"/>
            <a:ext cx="1919288" cy="409905"/>
          </a:xfrm>
          <a:prstGeom prst="rect">
            <a:avLst/>
          </a:prstGeom>
        </p:spPr>
      </p:pic>
      <p:pic>
        <p:nvPicPr>
          <p:cNvPr id="100" name="Picture 99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8E2C1D34-97B8-3278-A80C-65AAA9178A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t="51505"/>
          <a:stretch/>
        </p:blipFill>
        <p:spPr>
          <a:xfrm rot="5400000">
            <a:off x="5022843" y="4964745"/>
            <a:ext cx="1919288" cy="409905"/>
          </a:xfrm>
          <a:prstGeom prst="rect">
            <a:avLst/>
          </a:prstGeom>
        </p:spPr>
      </p:pic>
      <p:pic>
        <p:nvPicPr>
          <p:cNvPr id="101" name="Picture 100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26BB361F-9786-C909-36C7-49051574EE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t="51505"/>
          <a:stretch/>
        </p:blipFill>
        <p:spPr>
          <a:xfrm rot="5400000">
            <a:off x="6913343" y="4964746"/>
            <a:ext cx="1919288" cy="409905"/>
          </a:xfrm>
          <a:prstGeom prst="rect">
            <a:avLst/>
          </a:prstGeom>
        </p:spPr>
      </p:pic>
      <p:pic>
        <p:nvPicPr>
          <p:cNvPr id="102" name="Picture 101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6EC59A31-3375-CF3D-4404-4A1E37169A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40000"/>
          </a:blip>
          <a:srcRect t="51505"/>
          <a:stretch/>
        </p:blipFill>
        <p:spPr>
          <a:xfrm rot="5400000">
            <a:off x="8803844" y="4964747"/>
            <a:ext cx="1919288" cy="409905"/>
          </a:xfrm>
          <a:prstGeom prst="rect">
            <a:avLst/>
          </a:prstGeom>
        </p:spPr>
      </p:pic>
      <p:sp>
        <p:nvSpPr>
          <p:cNvPr id="5" name="Text Placeholder 15">
            <a:extLst>
              <a:ext uri="{FF2B5EF4-FFF2-40B4-BE49-F238E27FC236}">
                <a16:creationId xmlns:a16="http://schemas.microsoft.com/office/drawing/2014/main" id="{9B7FD8A0-8B32-CFD8-F28F-9ACD9E27DB1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CDBFA6-7E0B-8564-FD45-FD7AA4BA149E}"/>
              </a:ext>
            </a:extLst>
          </p:cNvPr>
          <p:cNvSpPr/>
          <p:nvPr userDrawn="1"/>
        </p:nvSpPr>
        <p:spPr>
          <a:xfrm>
            <a:off x="0" y="6864662"/>
            <a:ext cx="12192000" cy="6124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l">
              <a:lnSpc>
                <a:spcPct val="90000"/>
              </a:lnSpc>
              <a:spcAft>
                <a:spcPts val="200"/>
              </a:spcAft>
            </a:pPr>
            <a:r>
              <a:rPr lang="en-GB" sz="800" b="1">
                <a:solidFill>
                  <a:schemeClr val="bg1"/>
                </a:solidFill>
              </a:rPr>
              <a:t>To add/change the pictures: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Click on the image and press BACKSPACE or DELETE on the keyboard &gt; Click on the icon at the centre of the placeholder &gt; Select the chosen image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To adjust the crop, right-click on the image &gt; Crop</a:t>
            </a:r>
          </a:p>
          <a:p>
            <a:pPr marL="171450" marR="0" lvl="0" indent="-171450" algn="l" defTabSz="142728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If for any reason the image placeholder loses the rounded shape, click on Reset button in the Home tab at the top. </a:t>
            </a:r>
          </a:p>
        </p:txBody>
      </p:sp>
    </p:spTree>
    <p:extLst>
      <p:ext uri="{BB962C8B-B14F-4D97-AF65-F5344CB8AC3E}">
        <p14:creationId xmlns:p14="http://schemas.microsoft.com/office/powerpoint/2010/main" val="256791490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 descr="A large building on a hill&#10;&#10;Description automatically generated">
            <a:extLst>
              <a:ext uri="{FF2B5EF4-FFF2-40B4-BE49-F238E27FC236}">
                <a16:creationId xmlns:a16="http://schemas.microsoft.com/office/drawing/2014/main" id="{FF9D91C1-6298-F7E4-82FD-6FDA757934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b="15541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516A9285-6993-AEFA-2977-B0C84BF5B1D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432048"/>
            <a:ext cx="12192000" cy="3425952"/>
          </a:xfrm>
          <a:prstGeom prst="rect">
            <a:avLst/>
          </a:prstGeom>
        </p:spPr>
      </p:pic>
      <p:sp>
        <p:nvSpPr>
          <p:cNvPr id="50" name="Rectangle 49">
            <a:extLst>
              <a:ext uri="{FF2B5EF4-FFF2-40B4-BE49-F238E27FC236}">
                <a16:creationId xmlns:a16="http://schemas.microsoft.com/office/drawing/2014/main" id="{BBCB8169-D75E-E294-0857-1D4DBFDE418C}"/>
              </a:ext>
            </a:extLst>
          </p:cNvPr>
          <p:cNvSpPr/>
          <p:nvPr userDrawn="1"/>
        </p:nvSpPr>
        <p:spPr>
          <a:xfrm>
            <a:off x="0" y="0"/>
            <a:ext cx="12192000" cy="4000500"/>
          </a:xfrm>
          <a:prstGeom prst="rect">
            <a:avLst/>
          </a:prstGeom>
          <a:gradFill>
            <a:gsLst>
              <a:gs pos="0">
                <a:schemeClr val="bg1">
                  <a:alpha val="7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C76AC4-05D0-76A6-4DCF-1B1D163F7F91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51" name="Graphic 50">
            <a:extLst>
              <a:ext uri="{FF2B5EF4-FFF2-40B4-BE49-F238E27FC236}">
                <a16:creationId xmlns:a16="http://schemas.microsoft.com/office/drawing/2014/main" id="{5EDA5515-A23E-274D-ED0A-AF1492F299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956" r="956"/>
          <a:stretch/>
        </p:blipFill>
        <p:spPr>
          <a:xfrm>
            <a:off x="10543659" y="371929"/>
            <a:ext cx="1132403" cy="301171"/>
          </a:xfrm>
          <a:prstGeom prst="rect">
            <a:avLst/>
          </a:prstGeom>
        </p:spPr>
      </p:pic>
      <p:pic>
        <p:nvPicPr>
          <p:cNvPr id="42" name="Picture 41" descr="A large building on a hill&#10;&#10;Description automatically generated">
            <a:extLst>
              <a:ext uri="{FF2B5EF4-FFF2-40B4-BE49-F238E27FC236}">
                <a16:creationId xmlns:a16="http://schemas.microsoft.com/office/drawing/2014/main" id="{96A0301D-6D0F-062C-A465-4B37F7F26F64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rcRect l="4232" t="18730" r="4232" b="24543"/>
          <a:stretch>
            <a:fillRect/>
          </a:stretch>
        </p:blipFill>
        <p:spPr>
          <a:xfrm>
            <a:off x="515943" y="1520826"/>
            <a:ext cx="11160118" cy="4606193"/>
          </a:xfrm>
          <a:custGeom>
            <a:avLst/>
            <a:gdLst>
              <a:gd name="connsiteX0" fmla="*/ 7744886 w 11160118"/>
              <a:gd name="connsiteY0" fmla="*/ 0 h 4606193"/>
              <a:gd name="connsiteX1" fmla="*/ 11160118 w 11160118"/>
              <a:gd name="connsiteY1" fmla="*/ 0 h 4606193"/>
              <a:gd name="connsiteX2" fmla="*/ 11160118 w 11160118"/>
              <a:gd name="connsiteY2" fmla="*/ 4465622 h 4606193"/>
              <a:gd name="connsiteX3" fmla="*/ 11019547 w 11160118"/>
              <a:gd name="connsiteY3" fmla="*/ 4606193 h 4606193"/>
              <a:gd name="connsiteX4" fmla="*/ 7885457 w 11160118"/>
              <a:gd name="connsiteY4" fmla="*/ 4606193 h 4606193"/>
              <a:gd name="connsiteX5" fmla="*/ 7744886 w 11160118"/>
              <a:gd name="connsiteY5" fmla="*/ 4465622 h 4606193"/>
              <a:gd name="connsiteX6" fmla="*/ 3872441 w 11160118"/>
              <a:gd name="connsiteY6" fmla="*/ 0 h 4606193"/>
              <a:gd name="connsiteX7" fmla="*/ 7287673 w 11160118"/>
              <a:gd name="connsiteY7" fmla="*/ 0 h 4606193"/>
              <a:gd name="connsiteX8" fmla="*/ 7287673 w 11160118"/>
              <a:gd name="connsiteY8" fmla="*/ 4465622 h 4606193"/>
              <a:gd name="connsiteX9" fmla="*/ 7147102 w 11160118"/>
              <a:gd name="connsiteY9" fmla="*/ 4606193 h 4606193"/>
              <a:gd name="connsiteX10" fmla="*/ 4013012 w 11160118"/>
              <a:gd name="connsiteY10" fmla="*/ 4606193 h 4606193"/>
              <a:gd name="connsiteX11" fmla="*/ 3872441 w 11160118"/>
              <a:gd name="connsiteY11" fmla="*/ 4465622 h 4606193"/>
              <a:gd name="connsiteX12" fmla="*/ 0 w 11160118"/>
              <a:gd name="connsiteY12" fmla="*/ 0 h 4606193"/>
              <a:gd name="connsiteX13" fmla="*/ 3415232 w 11160118"/>
              <a:gd name="connsiteY13" fmla="*/ 0 h 4606193"/>
              <a:gd name="connsiteX14" fmla="*/ 3415232 w 11160118"/>
              <a:gd name="connsiteY14" fmla="*/ 4465622 h 4606193"/>
              <a:gd name="connsiteX15" fmla="*/ 3274661 w 11160118"/>
              <a:gd name="connsiteY15" fmla="*/ 4606193 h 4606193"/>
              <a:gd name="connsiteX16" fmla="*/ 140571 w 11160118"/>
              <a:gd name="connsiteY16" fmla="*/ 4606193 h 4606193"/>
              <a:gd name="connsiteX17" fmla="*/ 0 w 11160118"/>
              <a:gd name="connsiteY17" fmla="*/ 4465622 h 460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1160118" h="4606193">
                <a:moveTo>
                  <a:pt x="7744886" y="0"/>
                </a:moveTo>
                <a:lnTo>
                  <a:pt x="11160118" y="0"/>
                </a:lnTo>
                <a:lnTo>
                  <a:pt x="11160118" y="4465622"/>
                </a:lnTo>
                <a:cubicBezTo>
                  <a:pt x="11160118" y="4543257"/>
                  <a:pt x="11097182" y="4606193"/>
                  <a:pt x="11019547" y="4606193"/>
                </a:cubicBezTo>
                <a:lnTo>
                  <a:pt x="7885457" y="4606193"/>
                </a:lnTo>
                <a:cubicBezTo>
                  <a:pt x="7807822" y="4606193"/>
                  <a:pt x="7744886" y="4543257"/>
                  <a:pt x="7744886" y="4465622"/>
                </a:cubicBezTo>
                <a:close/>
                <a:moveTo>
                  <a:pt x="3872441" y="0"/>
                </a:moveTo>
                <a:lnTo>
                  <a:pt x="7287673" y="0"/>
                </a:lnTo>
                <a:lnTo>
                  <a:pt x="7287673" y="4465622"/>
                </a:lnTo>
                <a:cubicBezTo>
                  <a:pt x="7287673" y="4543257"/>
                  <a:pt x="7224737" y="4606193"/>
                  <a:pt x="7147102" y="4606193"/>
                </a:cubicBezTo>
                <a:lnTo>
                  <a:pt x="4013012" y="4606193"/>
                </a:lnTo>
                <a:cubicBezTo>
                  <a:pt x="3935377" y="4606193"/>
                  <a:pt x="3872441" y="4543257"/>
                  <a:pt x="3872441" y="4465622"/>
                </a:cubicBezTo>
                <a:close/>
                <a:moveTo>
                  <a:pt x="0" y="0"/>
                </a:moveTo>
                <a:lnTo>
                  <a:pt x="3415232" y="0"/>
                </a:lnTo>
                <a:lnTo>
                  <a:pt x="3415232" y="4465622"/>
                </a:lnTo>
                <a:cubicBezTo>
                  <a:pt x="3415232" y="4543257"/>
                  <a:pt x="3352296" y="4606193"/>
                  <a:pt x="3274661" y="4606193"/>
                </a:cubicBezTo>
                <a:lnTo>
                  <a:pt x="140571" y="4606193"/>
                </a:lnTo>
                <a:cubicBezTo>
                  <a:pt x="62936" y="4606193"/>
                  <a:pt x="0" y="4543257"/>
                  <a:pt x="0" y="4465622"/>
                </a:cubicBezTo>
                <a:close/>
              </a:path>
            </a:pathLst>
          </a:custGeom>
          <a:effectLst>
            <a:outerShdw blurRad="254000" algn="ctr" rotWithShape="0">
              <a:prstClr val="black">
                <a:alpha val="30000"/>
              </a:prstClr>
            </a:outerShdw>
          </a:effectLst>
        </p:spPr>
      </p:pic>
      <p:sp>
        <p:nvSpPr>
          <p:cNvPr id="19" name="Rectangle: Top Corners Rounded 18">
            <a:extLst>
              <a:ext uri="{FF2B5EF4-FFF2-40B4-BE49-F238E27FC236}">
                <a16:creationId xmlns:a16="http://schemas.microsoft.com/office/drawing/2014/main" id="{7048D06A-916B-D061-7030-29B12B91844D}"/>
              </a:ext>
            </a:extLst>
          </p:cNvPr>
          <p:cNvSpPr>
            <a:spLocks/>
          </p:cNvSpPr>
          <p:nvPr userDrawn="1"/>
        </p:nvSpPr>
        <p:spPr>
          <a:xfrm flipV="1">
            <a:off x="515943" y="1520825"/>
            <a:ext cx="3415232" cy="4606193"/>
          </a:xfrm>
          <a:prstGeom prst="round2SameRect">
            <a:avLst>
              <a:gd name="adj1" fmla="val 4116"/>
              <a:gd name="adj2" fmla="val 0"/>
            </a:avLst>
          </a:pr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4C9F44C5-40CE-DA2C-5B7D-35B8EF60535B}"/>
              </a:ext>
            </a:extLst>
          </p:cNvPr>
          <p:cNvSpPr>
            <a:spLocks/>
          </p:cNvSpPr>
          <p:nvPr userDrawn="1"/>
        </p:nvSpPr>
        <p:spPr>
          <a:xfrm flipV="1">
            <a:off x="4388384" y="1520825"/>
            <a:ext cx="3415232" cy="4606193"/>
          </a:xfrm>
          <a:prstGeom prst="round2SameRect">
            <a:avLst>
              <a:gd name="adj1" fmla="val 4116"/>
              <a:gd name="adj2" fmla="val 0"/>
            </a:avLst>
          </a:pr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5" name="Rectangle: Top Corners Rounded 24">
            <a:extLst>
              <a:ext uri="{FF2B5EF4-FFF2-40B4-BE49-F238E27FC236}">
                <a16:creationId xmlns:a16="http://schemas.microsoft.com/office/drawing/2014/main" id="{2E8AA6E2-727E-FF3A-206E-29028DA41136}"/>
              </a:ext>
            </a:extLst>
          </p:cNvPr>
          <p:cNvSpPr>
            <a:spLocks/>
          </p:cNvSpPr>
          <p:nvPr userDrawn="1"/>
        </p:nvSpPr>
        <p:spPr>
          <a:xfrm flipV="1">
            <a:off x="8260829" y="1520825"/>
            <a:ext cx="3415232" cy="4606193"/>
          </a:xfrm>
          <a:prstGeom prst="round2SameRect">
            <a:avLst>
              <a:gd name="adj1" fmla="val 4116"/>
              <a:gd name="adj2" fmla="val 0"/>
            </a:avLst>
          </a:pr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EFB1AB-ECB7-1175-BF46-A09A7797CBF6}"/>
              </a:ext>
            </a:extLst>
          </p:cNvPr>
          <p:cNvSpPr txBox="1"/>
          <p:nvPr userDrawn="1"/>
        </p:nvSpPr>
        <p:spPr>
          <a:xfrm>
            <a:off x="688974" y="1887039"/>
            <a:ext cx="3073399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</a:rPr>
              <a:t>01</a:t>
            </a:r>
            <a:endParaRPr lang="en-GB" sz="1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304756-D264-CFFC-A817-6605B4BDCA7D}"/>
              </a:ext>
            </a:extLst>
          </p:cNvPr>
          <p:cNvSpPr txBox="1"/>
          <p:nvPr userDrawn="1"/>
        </p:nvSpPr>
        <p:spPr>
          <a:xfrm>
            <a:off x="4561415" y="1887039"/>
            <a:ext cx="3073399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2">
                        <a:lumMod val="75000"/>
                      </a:schemeClr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</a:rPr>
              <a:t>02</a:t>
            </a:r>
            <a:endParaRPr lang="en-GB" sz="14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849217-55C8-5972-EE51-23CCCE1F9BD5}"/>
              </a:ext>
            </a:extLst>
          </p:cNvPr>
          <p:cNvSpPr txBox="1"/>
          <p:nvPr userDrawn="1"/>
        </p:nvSpPr>
        <p:spPr>
          <a:xfrm>
            <a:off x="8433860" y="1887039"/>
            <a:ext cx="3073399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3">
                        <a:lumMod val="75000"/>
                      </a:schemeClr>
                    </a:gs>
                    <a:gs pos="100000">
                      <a:schemeClr val="accent3"/>
                    </a:gs>
                  </a:gsLst>
                  <a:lin ang="2700000" scaled="1"/>
                  <a:tileRect/>
                </a:gradFill>
              </a:rPr>
              <a:t>03</a:t>
            </a:r>
            <a:endParaRPr lang="en-GB" sz="1400"/>
          </a:p>
        </p:txBody>
      </p:sp>
      <p:sp>
        <p:nvSpPr>
          <p:cNvPr id="26" name="Freeform: Shape 77">
            <a:extLst>
              <a:ext uri="{FF2B5EF4-FFF2-40B4-BE49-F238E27FC236}">
                <a16:creationId xmlns:a16="http://schemas.microsoft.com/office/drawing/2014/main" id="{7C48BAC6-6009-82E9-7855-A699E4F546FA}"/>
              </a:ext>
            </a:extLst>
          </p:cNvPr>
          <p:cNvSpPr/>
          <p:nvPr userDrawn="1"/>
        </p:nvSpPr>
        <p:spPr>
          <a:xfrm>
            <a:off x="515936" y="1520826"/>
            <a:ext cx="3415239" cy="163596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5000"/>
                </a:schemeClr>
              </a:gs>
              <a:gs pos="100000">
                <a:schemeClr val="accent1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7" name="Freeform: Shape 78">
            <a:extLst>
              <a:ext uri="{FF2B5EF4-FFF2-40B4-BE49-F238E27FC236}">
                <a16:creationId xmlns:a16="http://schemas.microsoft.com/office/drawing/2014/main" id="{9768B4BA-8307-5B85-02E5-E401B7865B61}"/>
              </a:ext>
            </a:extLst>
          </p:cNvPr>
          <p:cNvSpPr/>
          <p:nvPr userDrawn="1"/>
        </p:nvSpPr>
        <p:spPr>
          <a:xfrm>
            <a:off x="4388381" y="1520826"/>
            <a:ext cx="3415239" cy="1635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alpha val="95000"/>
                </a:schemeClr>
              </a:gs>
              <a:gs pos="100000">
                <a:schemeClr val="accent2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gradFill>
                <a:gsLst>
                  <a:gs pos="0">
                    <a:schemeClr val="accent2">
                      <a:lumMod val="75000"/>
                      <a:alpha val="95000"/>
                    </a:schemeClr>
                  </a:gs>
                  <a:gs pos="100000">
                    <a:schemeClr val="accent2">
                      <a:alpha val="60000"/>
                    </a:schemeClr>
                  </a:gs>
                </a:gsLst>
                <a:lin ang="0" scaled="1"/>
              </a:gradFill>
            </a:endParaRPr>
          </a:p>
        </p:txBody>
      </p:sp>
      <p:sp>
        <p:nvSpPr>
          <p:cNvPr id="28" name="Freeform: Shape 79">
            <a:extLst>
              <a:ext uri="{FF2B5EF4-FFF2-40B4-BE49-F238E27FC236}">
                <a16:creationId xmlns:a16="http://schemas.microsoft.com/office/drawing/2014/main" id="{E0C4FEB7-241F-0FE9-D785-871743B35352}"/>
              </a:ext>
            </a:extLst>
          </p:cNvPr>
          <p:cNvSpPr/>
          <p:nvPr userDrawn="1"/>
        </p:nvSpPr>
        <p:spPr>
          <a:xfrm>
            <a:off x="8260822" y="1520826"/>
            <a:ext cx="3415239" cy="163596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alpha val="95000"/>
                </a:schemeClr>
              </a:gs>
              <a:gs pos="100000">
                <a:schemeClr val="accent3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EE8D924-9617-C8A1-F8A1-64F8037D417A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688976" y="2665477"/>
            <a:ext cx="3073400" cy="3290819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7E0031B5-45C9-A237-03B0-C1C4023E0BC5}"/>
              </a:ext>
            </a:extLst>
          </p:cNvPr>
          <p:cNvSpPr>
            <a:spLocks noGrp="1"/>
          </p:cNvSpPr>
          <p:nvPr userDrawn="1">
            <p:ph type="body" sz="quarter" idx="14"/>
          </p:nvPr>
        </p:nvSpPr>
        <p:spPr>
          <a:xfrm>
            <a:off x="4561417" y="2665477"/>
            <a:ext cx="3073400" cy="3290819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218B7E1-A35F-19DE-C039-023B9744D13F}"/>
              </a:ext>
            </a:extLst>
          </p:cNvPr>
          <p:cNvSpPr>
            <a:spLocks noGrp="1"/>
          </p:cNvSpPr>
          <p:nvPr userDrawn="1">
            <p:ph type="body" sz="quarter" idx="15"/>
          </p:nvPr>
        </p:nvSpPr>
        <p:spPr>
          <a:xfrm>
            <a:off x="8433862" y="2665477"/>
            <a:ext cx="3073400" cy="3290819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id="{9622B287-CB68-FB10-0E83-323DA89297D8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AN Cement Group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67994849-52D2-F2F7-4CBE-E8D7287265A6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31C82E-7B5F-4FD3-882E-C1FF210412A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58B6A9DD-79BB-D807-5AD7-C38C7AFA8802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1860F0B-1877-D68A-2D6D-5C67A42AF35F}"/>
              </a:ext>
            </a:extLst>
          </p:cNvPr>
          <p:cNvCxnSpPr>
            <a:cxnSpLocks/>
          </p:cNvCxnSpPr>
          <p:nvPr userDrawn="1"/>
        </p:nvCxnSpPr>
        <p:spPr>
          <a:xfrm>
            <a:off x="689447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AA69004-1B87-05D6-AE63-1923722B7817}"/>
              </a:ext>
            </a:extLst>
          </p:cNvPr>
          <p:cNvCxnSpPr>
            <a:cxnSpLocks/>
          </p:cNvCxnSpPr>
          <p:nvPr userDrawn="1"/>
        </p:nvCxnSpPr>
        <p:spPr>
          <a:xfrm>
            <a:off x="4561416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1F8C413-9295-4BB3-A92C-2330331B4E81}"/>
              </a:ext>
            </a:extLst>
          </p:cNvPr>
          <p:cNvCxnSpPr>
            <a:cxnSpLocks/>
          </p:cNvCxnSpPr>
          <p:nvPr userDrawn="1"/>
        </p:nvCxnSpPr>
        <p:spPr>
          <a:xfrm>
            <a:off x="8433861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77730379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Picture 57" descr="A large dam with people walking on the road&#10;&#10;Description automatically generated">
            <a:extLst>
              <a:ext uri="{FF2B5EF4-FFF2-40B4-BE49-F238E27FC236}">
                <a16:creationId xmlns:a16="http://schemas.microsoft.com/office/drawing/2014/main" id="{A4615BC0-65D6-3CA0-C296-CB66E3DE0FE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1887" b="13208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54" name="Picture 53" descr="A large dam with people walking on the road&#10;&#10;Description automatically generated">
            <a:extLst>
              <a:ext uri="{FF2B5EF4-FFF2-40B4-BE49-F238E27FC236}">
                <a16:creationId xmlns:a16="http://schemas.microsoft.com/office/drawing/2014/main" id="{A9FBFD99-F488-A5FD-0341-BBB9BA46CB7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rcRect l="4232" t="20715" r="4232" b="22258"/>
          <a:stretch>
            <a:fillRect/>
          </a:stretch>
        </p:blipFill>
        <p:spPr>
          <a:xfrm>
            <a:off x="515941" y="1520826"/>
            <a:ext cx="11160124" cy="4606191"/>
          </a:xfrm>
          <a:custGeom>
            <a:avLst/>
            <a:gdLst>
              <a:gd name="connsiteX0" fmla="*/ 2618581 w 11160124"/>
              <a:gd name="connsiteY0" fmla="*/ 0 h 4606191"/>
              <a:gd name="connsiteX1" fmla="*/ 2479065 w 11160124"/>
              <a:gd name="connsiteY1" fmla="*/ 0 h 4606191"/>
              <a:gd name="connsiteX2" fmla="*/ 139520 w 11160124"/>
              <a:gd name="connsiteY2" fmla="*/ 0 h 4606191"/>
              <a:gd name="connsiteX3" fmla="*/ 0 w 11160124"/>
              <a:gd name="connsiteY3" fmla="*/ 0 h 4606191"/>
              <a:gd name="connsiteX4" fmla="*/ 0 w 11160124"/>
              <a:gd name="connsiteY4" fmla="*/ 163596 h 4606191"/>
              <a:gd name="connsiteX5" fmla="*/ 1 w 11160124"/>
              <a:gd name="connsiteY5" fmla="*/ 163596 h 4606191"/>
              <a:gd name="connsiteX6" fmla="*/ 1 w 11160124"/>
              <a:gd name="connsiteY6" fmla="*/ 1270277 h 4606191"/>
              <a:gd name="connsiteX7" fmla="*/ 0 w 11160124"/>
              <a:gd name="connsiteY7" fmla="*/ 1270277 h 4606191"/>
              <a:gd name="connsiteX8" fmla="*/ 0 w 11160124"/>
              <a:gd name="connsiteY8" fmla="*/ 1433873 h 4606191"/>
              <a:gd name="connsiteX9" fmla="*/ 1 w 11160124"/>
              <a:gd name="connsiteY9" fmla="*/ 1433873 h 4606191"/>
              <a:gd name="connsiteX10" fmla="*/ 1 w 11160124"/>
              <a:gd name="connsiteY10" fmla="*/ 3196396 h 4606191"/>
              <a:gd name="connsiteX11" fmla="*/ 1 w 11160124"/>
              <a:gd name="connsiteY11" fmla="*/ 4466673 h 4606191"/>
              <a:gd name="connsiteX12" fmla="*/ 139520 w 11160124"/>
              <a:gd name="connsiteY12" fmla="*/ 4606191 h 4606191"/>
              <a:gd name="connsiteX13" fmla="*/ 2479065 w 11160124"/>
              <a:gd name="connsiteY13" fmla="*/ 4606191 h 4606191"/>
              <a:gd name="connsiteX14" fmla="*/ 2618582 w 11160124"/>
              <a:gd name="connsiteY14" fmla="*/ 4466673 h 4606191"/>
              <a:gd name="connsiteX15" fmla="*/ 2618582 w 11160124"/>
              <a:gd name="connsiteY15" fmla="*/ 3196396 h 4606191"/>
              <a:gd name="connsiteX16" fmla="*/ 2618582 w 11160124"/>
              <a:gd name="connsiteY16" fmla="*/ 1409795 h 4606191"/>
              <a:gd name="connsiteX17" fmla="*/ 2618582 w 11160124"/>
              <a:gd name="connsiteY17" fmla="*/ 139518 h 4606191"/>
              <a:gd name="connsiteX18" fmla="*/ 2618581 w 11160124"/>
              <a:gd name="connsiteY18" fmla="*/ 139515 h 4606191"/>
              <a:gd name="connsiteX19" fmla="*/ 5465762 w 11160124"/>
              <a:gd name="connsiteY19" fmla="*/ 0 h 4606191"/>
              <a:gd name="connsiteX20" fmla="*/ 5326244 w 11160124"/>
              <a:gd name="connsiteY20" fmla="*/ 0 h 4606191"/>
              <a:gd name="connsiteX21" fmla="*/ 2986701 w 11160124"/>
              <a:gd name="connsiteY21" fmla="*/ 0 h 4606191"/>
              <a:gd name="connsiteX22" fmla="*/ 2847181 w 11160124"/>
              <a:gd name="connsiteY22" fmla="*/ 0 h 4606191"/>
              <a:gd name="connsiteX23" fmla="*/ 2847181 w 11160124"/>
              <a:gd name="connsiteY23" fmla="*/ 163596 h 4606191"/>
              <a:gd name="connsiteX24" fmla="*/ 2847182 w 11160124"/>
              <a:gd name="connsiteY24" fmla="*/ 163596 h 4606191"/>
              <a:gd name="connsiteX25" fmla="*/ 2847182 w 11160124"/>
              <a:gd name="connsiteY25" fmla="*/ 1270277 h 4606191"/>
              <a:gd name="connsiteX26" fmla="*/ 2847181 w 11160124"/>
              <a:gd name="connsiteY26" fmla="*/ 1270277 h 4606191"/>
              <a:gd name="connsiteX27" fmla="*/ 2847181 w 11160124"/>
              <a:gd name="connsiteY27" fmla="*/ 1433873 h 4606191"/>
              <a:gd name="connsiteX28" fmla="*/ 2847182 w 11160124"/>
              <a:gd name="connsiteY28" fmla="*/ 1433873 h 4606191"/>
              <a:gd name="connsiteX29" fmla="*/ 2847182 w 11160124"/>
              <a:gd name="connsiteY29" fmla="*/ 3196396 h 4606191"/>
              <a:gd name="connsiteX30" fmla="*/ 2847182 w 11160124"/>
              <a:gd name="connsiteY30" fmla="*/ 4466673 h 4606191"/>
              <a:gd name="connsiteX31" fmla="*/ 2986701 w 11160124"/>
              <a:gd name="connsiteY31" fmla="*/ 4606191 h 4606191"/>
              <a:gd name="connsiteX32" fmla="*/ 5326244 w 11160124"/>
              <a:gd name="connsiteY32" fmla="*/ 4606191 h 4606191"/>
              <a:gd name="connsiteX33" fmla="*/ 5465762 w 11160124"/>
              <a:gd name="connsiteY33" fmla="*/ 4466673 h 4606191"/>
              <a:gd name="connsiteX34" fmla="*/ 5465762 w 11160124"/>
              <a:gd name="connsiteY34" fmla="*/ 3196396 h 4606191"/>
              <a:gd name="connsiteX35" fmla="*/ 5465762 w 11160124"/>
              <a:gd name="connsiteY35" fmla="*/ 1433873 h 4606191"/>
              <a:gd name="connsiteX36" fmla="*/ 5465762 w 11160124"/>
              <a:gd name="connsiteY36" fmla="*/ 1409795 h 4606191"/>
              <a:gd name="connsiteX37" fmla="*/ 5465762 w 11160124"/>
              <a:gd name="connsiteY37" fmla="*/ 1270277 h 4606191"/>
              <a:gd name="connsiteX38" fmla="*/ 5465762 w 11160124"/>
              <a:gd name="connsiteY38" fmla="*/ 163596 h 4606191"/>
              <a:gd name="connsiteX39" fmla="*/ 5465762 w 11160124"/>
              <a:gd name="connsiteY39" fmla="*/ 139518 h 4606191"/>
              <a:gd name="connsiteX40" fmla="*/ 8312943 w 11160124"/>
              <a:gd name="connsiteY40" fmla="*/ 0 h 4606191"/>
              <a:gd name="connsiteX41" fmla="*/ 8173425 w 11160124"/>
              <a:gd name="connsiteY41" fmla="*/ 0 h 4606191"/>
              <a:gd name="connsiteX42" fmla="*/ 5833880 w 11160124"/>
              <a:gd name="connsiteY42" fmla="*/ 0 h 4606191"/>
              <a:gd name="connsiteX43" fmla="*/ 5694362 w 11160124"/>
              <a:gd name="connsiteY43" fmla="*/ 0 h 4606191"/>
              <a:gd name="connsiteX44" fmla="*/ 5694362 w 11160124"/>
              <a:gd name="connsiteY44" fmla="*/ 139518 h 4606191"/>
              <a:gd name="connsiteX45" fmla="*/ 5694362 w 11160124"/>
              <a:gd name="connsiteY45" fmla="*/ 163596 h 4606191"/>
              <a:gd name="connsiteX46" fmla="*/ 5694362 w 11160124"/>
              <a:gd name="connsiteY46" fmla="*/ 1270277 h 4606191"/>
              <a:gd name="connsiteX47" fmla="*/ 5694362 w 11160124"/>
              <a:gd name="connsiteY47" fmla="*/ 1409795 h 4606191"/>
              <a:gd name="connsiteX48" fmla="*/ 5694362 w 11160124"/>
              <a:gd name="connsiteY48" fmla="*/ 1433873 h 4606191"/>
              <a:gd name="connsiteX49" fmla="*/ 5694362 w 11160124"/>
              <a:gd name="connsiteY49" fmla="*/ 3196396 h 4606191"/>
              <a:gd name="connsiteX50" fmla="*/ 5694362 w 11160124"/>
              <a:gd name="connsiteY50" fmla="*/ 4466673 h 4606191"/>
              <a:gd name="connsiteX51" fmla="*/ 5833880 w 11160124"/>
              <a:gd name="connsiteY51" fmla="*/ 4606191 h 4606191"/>
              <a:gd name="connsiteX52" fmla="*/ 8173425 w 11160124"/>
              <a:gd name="connsiteY52" fmla="*/ 4606191 h 4606191"/>
              <a:gd name="connsiteX53" fmla="*/ 8312943 w 11160124"/>
              <a:gd name="connsiteY53" fmla="*/ 4466673 h 4606191"/>
              <a:gd name="connsiteX54" fmla="*/ 8312943 w 11160124"/>
              <a:gd name="connsiteY54" fmla="*/ 3196396 h 4606191"/>
              <a:gd name="connsiteX55" fmla="*/ 8312943 w 11160124"/>
              <a:gd name="connsiteY55" fmla="*/ 1433873 h 4606191"/>
              <a:gd name="connsiteX56" fmla="*/ 8312943 w 11160124"/>
              <a:gd name="connsiteY56" fmla="*/ 1409795 h 4606191"/>
              <a:gd name="connsiteX57" fmla="*/ 8312943 w 11160124"/>
              <a:gd name="connsiteY57" fmla="*/ 1270277 h 4606191"/>
              <a:gd name="connsiteX58" fmla="*/ 8312943 w 11160124"/>
              <a:gd name="connsiteY58" fmla="*/ 163596 h 4606191"/>
              <a:gd name="connsiteX59" fmla="*/ 8312943 w 11160124"/>
              <a:gd name="connsiteY59" fmla="*/ 139518 h 4606191"/>
              <a:gd name="connsiteX60" fmla="*/ 11160124 w 11160124"/>
              <a:gd name="connsiteY60" fmla="*/ 0 h 4606191"/>
              <a:gd name="connsiteX61" fmla="*/ 11020606 w 11160124"/>
              <a:gd name="connsiteY61" fmla="*/ 0 h 4606191"/>
              <a:gd name="connsiteX62" fmla="*/ 8681061 w 11160124"/>
              <a:gd name="connsiteY62" fmla="*/ 0 h 4606191"/>
              <a:gd name="connsiteX63" fmla="*/ 8541543 w 11160124"/>
              <a:gd name="connsiteY63" fmla="*/ 0 h 4606191"/>
              <a:gd name="connsiteX64" fmla="*/ 8541543 w 11160124"/>
              <a:gd name="connsiteY64" fmla="*/ 139518 h 4606191"/>
              <a:gd name="connsiteX65" fmla="*/ 8541543 w 11160124"/>
              <a:gd name="connsiteY65" fmla="*/ 163596 h 4606191"/>
              <a:gd name="connsiteX66" fmla="*/ 8541543 w 11160124"/>
              <a:gd name="connsiteY66" fmla="*/ 1270277 h 4606191"/>
              <a:gd name="connsiteX67" fmla="*/ 8541543 w 11160124"/>
              <a:gd name="connsiteY67" fmla="*/ 1409795 h 4606191"/>
              <a:gd name="connsiteX68" fmla="*/ 8541543 w 11160124"/>
              <a:gd name="connsiteY68" fmla="*/ 1433873 h 4606191"/>
              <a:gd name="connsiteX69" fmla="*/ 8541543 w 11160124"/>
              <a:gd name="connsiteY69" fmla="*/ 3196396 h 4606191"/>
              <a:gd name="connsiteX70" fmla="*/ 8541543 w 11160124"/>
              <a:gd name="connsiteY70" fmla="*/ 4466673 h 4606191"/>
              <a:gd name="connsiteX71" fmla="*/ 8681061 w 11160124"/>
              <a:gd name="connsiteY71" fmla="*/ 4606191 h 4606191"/>
              <a:gd name="connsiteX72" fmla="*/ 11020606 w 11160124"/>
              <a:gd name="connsiteY72" fmla="*/ 4606191 h 4606191"/>
              <a:gd name="connsiteX73" fmla="*/ 11160124 w 11160124"/>
              <a:gd name="connsiteY73" fmla="*/ 4466673 h 4606191"/>
              <a:gd name="connsiteX74" fmla="*/ 11160124 w 11160124"/>
              <a:gd name="connsiteY74" fmla="*/ 3196396 h 4606191"/>
              <a:gd name="connsiteX75" fmla="*/ 11160124 w 11160124"/>
              <a:gd name="connsiteY75" fmla="*/ 1433873 h 4606191"/>
              <a:gd name="connsiteX76" fmla="*/ 11160124 w 11160124"/>
              <a:gd name="connsiteY76" fmla="*/ 1409795 h 4606191"/>
              <a:gd name="connsiteX77" fmla="*/ 11160124 w 11160124"/>
              <a:gd name="connsiteY77" fmla="*/ 1270277 h 4606191"/>
              <a:gd name="connsiteX78" fmla="*/ 11160124 w 11160124"/>
              <a:gd name="connsiteY78" fmla="*/ 163596 h 4606191"/>
              <a:gd name="connsiteX79" fmla="*/ 11160124 w 11160124"/>
              <a:gd name="connsiteY79" fmla="*/ 139518 h 46061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11160124" h="4606191">
                <a:moveTo>
                  <a:pt x="2618581" y="0"/>
                </a:moveTo>
                <a:lnTo>
                  <a:pt x="2479065" y="0"/>
                </a:lnTo>
                <a:lnTo>
                  <a:pt x="139520" y="0"/>
                </a:lnTo>
                <a:lnTo>
                  <a:pt x="0" y="0"/>
                </a:lnTo>
                <a:lnTo>
                  <a:pt x="0" y="163596"/>
                </a:lnTo>
                <a:lnTo>
                  <a:pt x="1" y="163596"/>
                </a:lnTo>
                <a:lnTo>
                  <a:pt x="1" y="1270277"/>
                </a:lnTo>
                <a:lnTo>
                  <a:pt x="0" y="1270277"/>
                </a:lnTo>
                <a:lnTo>
                  <a:pt x="0" y="1433873"/>
                </a:lnTo>
                <a:lnTo>
                  <a:pt x="1" y="1433873"/>
                </a:lnTo>
                <a:lnTo>
                  <a:pt x="1" y="3196396"/>
                </a:lnTo>
                <a:lnTo>
                  <a:pt x="1" y="4466673"/>
                </a:lnTo>
                <a:cubicBezTo>
                  <a:pt x="1" y="4543727"/>
                  <a:pt x="62466" y="4606191"/>
                  <a:pt x="139520" y="4606191"/>
                </a:cubicBezTo>
                <a:lnTo>
                  <a:pt x="2479065" y="4606191"/>
                </a:lnTo>
                <a:cubicBezTo>
                  <a:pt x="2556119" y="4606191"/>
                  <a:pt x="2618582" y="4543727"/>
                  <a:pt x="2618582" y="4466673"/>
                </a:cubicBezTo>
                <a:lnTo>
                  <a:pt x="2618582" y="3196396"/>
                </a:lnTo>
                <a:lnTo>
                  <a:pt x="2618582" y="1409795"/>
                </a:lnTo>
                <a:lnTo>
                  <a:pt x="2618582" y="139518"/>
                </a:lnTo>
                <a:lnTo>
                  <a:pt x="2618581" y="139515"/>
                </a:lnTo>
                <a:close/>
                <a:moveTo>
                  <a:pt x="5465762" y="0"/>
                </a:moveTo>
                <a:lnTo>
                  <a:pt x="5326244" y="0"/>
                </a:lnTo>
                <a:lnTo>
                  <a:pt x="2986701" y="0"/>
                </a:lnTo>
                <a:lnTo>
                  <a:pt x="2847181" y="0"/>
                </a:lnTo>
                <a:lnTo>
                  <a:pt x="2847181" y="163596"/>
                </a:lnTo>
                <a:lnTo>
                  <a:pt x="2847182" y="163596"/>
                </a:lnTo>
                <a:lnTo>
                  <a:pt x="2847182" y="1270277"/>
                </a:lnTo>
                <a:lnTo>
                  <a:pt x="2847181" y="1270277"/>
                </a:lnTo>
                <a:lnTo>
                  <a:pt x="2847181" y="1433873"/>
                </a:lnTo>
                <a:lnTo>
                  <a:pt x="2847182" y="1433873"/>
                </a:lnTo>
                <a:lnTo>
                  <a:pt x="2847182" y="3196396"/>
                </a:lnTo>
                <a:lnTo>
                  <a:pt x="2847182" y="4466673"/>
                </a:lnTo>
                <a:cubicBezTo>
                  <a:pt x="2847182" y="4543727"/>
                  <a:pt x="2909646" y="4606191"/>
                  <a:pt x="2986701" y="4606191"/>
                </a:cubicBezTo>
                <a:lnTo>
                  <a:pt x="5326244" y="4606191"/>
                </a:lnTo>
                <a:cubicBezTo>
                  <a:pt x="5403299" y="4606191"/>
                  <a:pt x="5465762" y="4543727"/>
                  <a:pt x="5465762" y="4466673"/>
                </a:cubicBezTo>
                <a:lnTo>
                  <a:pt x="5465762" y="3196396"/>
                </a:lnTo>
                <a:lnTo>
                  <a:pt x="5465762" y="1433873"/>
                </a:lnTo>
                <a:lnTo>
                  <a:pt x="5465762" y="1409795"/>
                </a:lnTo>
                <a:lnTo>
                  <a:pt x="5465762" y="1270277"/>
                </a:lnTo>
                <a:lnTo>
                  <a:pt x="5465762" y="163596"/>
                </a:lnTo>
                <a:lnTo>
                  <a:pt x="5465762" y="139518"/>
                </a:lnTo>
                <a:close/>
                <a:moveTo>
                  <a:pt x="8312943" y="0"/>
                </a:moveTo>
                <a:lnTo>
                  <a:pt x="8173425" y="0"/>
                </a:lnTo>
                <a:lnTo>
                  <a:pt x="5833880" y="0"/>
                </a:lnTo>
                <a:lnTo>
                  <a:pt x="5694362" y="0"/>
                </a:lnTo>
                <a:lnTo>
                  <a:pt x="5694362" y="139518"/>
                </a:lnTo>
                <a:lnTo>
                  <a:pt x="5694362" y="163596"/>
                </a:lnTo>
                <a:lnTo>
                  <a:pt x="5694362" y="1270277"/>
                </a:lnTo>
                <a:lnTo>
                  <a:pt x="5694362" y="1409795"/>
                </a:lnTo>
                <a:lnTo>
                  <a:pt x="5694362" y="1433873"/>
                </a:lnTo>
                <a:lnTo>
                  <a:pt x="5694362" y="3196396"/>
                </a:lnTo>
                <a:lnTo>
                  <a:pt x="5694362" y="4466673"/>
                </a:lnTo>
                <a:cubicBezTo>
                  <a:pt x="5694362" y="4543727"/>
                  <a:pt x="5756826" y="4606191"/>
                  <a:pt x="5833880" y="4606191"/>
                </a:cubicBezTo>
                <a:lnTo>
                  <a:pt x="8173425" y="4606191"/>
                </a:lnTo>
                <a:cubicBezTo>
                  <a:pt x="8250479" y="4606191"/>
                  <a:pt x="8312943" y="4543727"/>
                  <a:pt x="8312943" y="4466673"/>
                </a:cubicBezTo>
                <a:lnTo>
                  <a:pt x="8312943" y="3196396"/>
                </a:lnTo>
                <a:lnTo>
                  <a:pt x="8312943" y="1433873"/>
                </a:lnTo>
                <a:lnTo>
                  <a:pt x="8312943" y="1409795"/>
                </a:lnTo>
                <a:lnTo>
                  <a:pt x="8312943" y="1270277"/>
                </a:lnTo>
                <a:lnTo>
                  <a:pt x="8312943" y="163596"/>
                </a:lnTo>
                <a:lnTo>
                  <a:pt x="8312943" y="139518"/>
                </a:lnTo>
                <a:close/>
                <a:moveTo>
                  <a:pt x="11160124" y="0"/>
                </a:moveTo>
                <a:lnTo>
                  <a:pt x="11020606" y="0"/>
                </a:lnTo>
                <a:lnTo>
                  <a:pt x="8681061" y="0"/>
                </a:lnTo>
                <a:lnTo>
                  <a:pt x="8541543" y="0"/>
                </a:lnTo>
                <a:lnTo>
                  <a:pt x="8541543" y="139518"/>
                </a:lnTo>
                <a:lnTo>
                  <a:pt x="8541543" y="163596"/>
                </a:lnTo>
                <a:lnTo>
                  <a:pt x="8541543" y="1270277"/>
                </a:lnTo>
                <a:lnTo>
                  <a:pt x="8541543" y="1409795"/>
                </a:lnTo>
                <a:lnTo>
                  <a:pt x="8541543" y="1433873"/>
                </a:lnTo>
                <a:lnTo>
                  <a:pt x="8541543" y="3196396"/>
                </a:lnTo>
                <a:lnTo>
                  <a:pt x="8541543" y="4466673"/>
                </a:lnTo>
                <a:cubicBezTo>
                  <a:pt x="8541543" y="4543727"/>
                  <a:pt x="8604007" y="4606191"/>
                  <a:pt x="8681061" y="4606191"/>
                </a:cubicBezTo>
                <a:lnTo>
                  <a:pt x="11020606" y="4606191"/>
                </a:lnTo>
                <a:cubicBezTo>
                  <a:pt x="11097660" y="4606191"/>
                  <a:pt x="11160124" y="4543727"/>
                  <a:pt x="11160124" y="4466673"/>
                </a:cubicBezTo>
                <a:lnTo>
                  <a:pt x="11160124" y="3196396"/>
                </a:lnTo>
                <a:lnTo>
                  <a:pt x="11160124" y="1433873"/>
                </a:lnTo>
                <a:lnTo>
                  <a:pt x="11160124" y="1409795"/>
                </a:lnTo>
                <a:lnTo>
                  <a:pt x="11160124" y="1270277"/>
                </a:lnTo>
                <a:lnTo>
                  <a:pt x="11160124" y="163596"/>
                </a:lnTo>
                <a:lnTo>
                  <a:pt x="11160124" y="139518"/>
                </a:lnTo>
                <a:close/>
              </a:path>
            </a:pathLst>
          </a:custGeom>
          <a:effectLst>
            <a:outerShdw blurRad="254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B8571CAA-0AAD-4C76-1F7D-DF1D43138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56" r="956"/>
          <a:stretch/>
        </p:blipFill>
        <p:spPr>
          <a:xfrm>
            <a:off x="10543659" y="371929"/>
            <a:ext cx="1132403" cy="301171"/>
          </a:xfrm>
          <a:prstGeom prst="rect">
            <a:avLst/>
          </a:prstGeom>
        </p:spPr>
      </p:pic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16B3D484-11F3-0EF7-A1D2-ADD2757A8FAA}"/>
              </a:ext>
            </a:extLst>
          </p:cNvPr>
          <p:cNvSpPr>
            <a:spLocks/>
          </p:cNvSpPr>
          <p:nvPr userDrawn="1"/>
        </p:nvSpPr>
        <p:spPr>
          <a:xfrm>
            <a:off x="515940" y="1520826"/>
            <a:ext cx="2618582" cy="4606193"/>
          </a:xfrm>
          <a:custGeom>
            <a:avLst/>
            <a:gdLst>
              <a:gd name="connsiteX0" fmla="*/ 139518 w 2618582"/>
              <a:gd name="connsiteY0" fmla="*/ 0 h 4606193"/>
              <a:gd name="connsiteX1" fmla="*/ 2479063 w 2618582"/>
              <a:gd name="connsiteY1" fmla="*/ 0 h 4606193"/>
              <a:gd name="connsiteX2" fmla="*/ 2479068 w 2618582"/>
              <a:gd name="connsiteY2" fmla="*/ 1 h 4606193"/>
              <a:gd name="connsiteX3" fmla="*/ 2618582 w 2618582"/>
              <a:gd name="connsiteY3" fmla="*/ 1 h 4606193"/>
              <a:gd name="connsiteX4" fmla="*/ 2618582 w 2618582"/>
              <a:gd name="connsiteY4" fmla="*/ 163597 h 4606193"/>
              <a:gd name="connsiteX5" fmla="*/ 2618581 w 2618582"/>
              <a:gd name="connsiteY5" fmla="*/ 163597 h 4606193"/>
              <a:gd name="connsiteX6" fmla="*/ 2618581 w 2618582"/>
              <a:gd name="connsiteY6" fmla="*/ 1270280 h 4606193"/>
              <a:gd name="connsiteX7" fmla="*/ 2618582 w 2618582"/>
              <a:gd name="connsiteY7" fmla="*/ 1270280 h 4606193"/>
              <a:gd name="connsiteX8" fmla="*/ 2618582 w 2618582"/>
              <a:gd name="connsiteY8" fmla="*/ 1433876 h 4606193"/>
              <a:gd name="connsiteX9" fmla="*/ 2618581 w 2618582"/>
              <a:gd name="connsiteY9" fmla="*/ 1433876 h 4606193"/>
              <a:gd name="connsiteX10" fmla="*/ 2618581 w 2618582"/>
              <a:gd name="connsiteY10" fmla="*/ 3196396 h 4606193"/>
              <a:gd name="connsiteX11" fmla="*/ 2618581 w 2618582"/>
              <a:gd name="connsiteY11" fmla="*/ 4466675 h 4606193"/>
              <a:gd name="connsiteX12" fmla="*/ 2479063 w 2618582"/>
              <a:gd name="connsiteY12" fmla="*/ 4606193 h 4606193"/>
              <a:gd name="connsiteX13" fmla="*/ 139518 w 2618582"/>
              <a:gd name="connsiteY13" fmla="*/ 4606193 h 4606193"/>
              <a:gd name="connsiteX14" fmla="*/ 0 w 2618582"/>
              <a:gd name="connsiteY14" fmla="*/ 4466675 h 4606193"/>
              <a:gd name="connsiteX15" fmla="*/ 0 w 2618582"/>
              <a:gd name="connsiteY15" fmla="*/ 3196396 h 4606193"/>
              <a:gd name="connsiteX16" fmla="*/ 0 w 2618582"/>
              <a:gd name="connsiteY16" fmla="*/ 1409797 h 4606193"/>
              <a:gd name="connsiteX17" fmla="*/ 0 w 2618582"/>
              <a:gd name="connsiteY17" fmla="*/ 139518 h 4606193"/>
              <a:gd name="connsiteX18" fmla="*/ 1 w 2618582"/>
              <a:gd name="connsiteY18" fmla="*/ 139513 h 4606193"/>
              <a:gd name="connsiteX19" fmla="*/ 1 w 2618582"/>
              <a:gd name="connsiteY19" fmla="*/ 1 h 4606193"/>
              <a:gd name="connsiteX20" fmla="*/ 139513 w 2618582"/>
              <a:gd name="connsiteY20" fmla="*/ 1 h 460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18582" h="4606193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2" y="1"/>
                </a:lnTo>
                <a:lnTo>
                  <a:pt x="2618582" y="163597"/>
                </a:lnTo>
                <a:lnTo>
                  <a:pt x="2618581" y="163597"/>
                </a:lnTo>
                <a:lnTo>
                  <a:pt x="2618581" y="1270280"/>
                </a:lnTo>
                <a:lnTo>
                  <a:pt x="2618582" y="1270280"/>
                </a:lnTo>
                <a:lnTo>
                  <a:pt x="2618582" y="1433876"/>
                </a:lnTo>
                <a:lnTo>
                  <a:pt x="2618581" y="1433876"/>
                </a:lnTo>
                <a:lnTo>
                  <a:pt x="2618581" y="3196396"/>
                </a:lnTo>
                <a:lnTo>
                  <a:pt x="2618581" y="4466675"/>
                </a:lnTo>
                <a:cubicBezTo>
                  <a:pt x="2618581" y="4543729"/>
                  <a:pt x="2556117" y="4606193"/>
                  <a:pt x="2479063" y="4606193"/>
                </a:cubicBezTo>
                <a:lnTo>
                  <a:pt x="139518" y="4606193"/>
                </a:lnTo>
                <a:cubicBezTo>
                  <a:pt x="62464" y="4606193"/>
                  <a:pt x="0" y="4543729"/>
                  <a:pt x="0" y="4466675"/>
                </a:cubicBezTo>
                <a:lnTo>
                  <a:pt x="0" y="3196396"/>
                </a:lnTo>
                <a:lnTo>
                  <a:pt x="0" y="1409797"/>
                </a:lnTo>
                <a:lnTo>
                  <a:pt x="0" y="139518"/>
                </a:lnTo>
                <a:lnTo>
                  <a:pt x="1" y="139513"/>
                </a:lnTo>
                <a:lnTo>
                  <a:pt x="1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7583A40C-6D96-A2F4-E393-3208932C2E91}"/>
              </a:ext>
            </a:extLst>
          </p:cNvPr>
          <p:cNvSpPr>
            <a:spLocks/>
          </p:cNvSpPr>
          <p:nvPr userDrawn="1"/>
        </p:nvSpPr>
        <p:spPr>
          <a:xfrm>
            <a:off x="3363118" y="1520825"/>
            <a:ext cx="2618582" cy="4606193"/>
          </a:xfrm>
          <a:custGeom>
            <a:avLst/>
            <a:gdLst>
              <a:gd name="connsiteX0" fmla="*/ 139518 w 2618582"/>
              <a:gd name="connsiteY0" fmla="*/ 0 h 4606193"/>
              <a:gd name="connsiteX1" fmla="*/ 2479063 w 2618582"/>
              <a:gd name="connsiteY1" fmla="*/ 0 h 4606193"/>
              <a:gd name="connsiteX2" fmla="*/ 2479068 w 2618582"/>
              <a:gd name="connsiteY2" fmla="*/ 1 h 4606193"/>
              <a:gd name="connsiteX3" fmla="*/ 2618582 w 2618582"/>
              <a:gd name="connsiteY3" fmla="*/ 1 h 4606193"/>
              <a:gd name="connsiteX4" fmla="*/ 2618582 w 2618582"/>
              <a:gd name="connsiteY4" fmla="*/ 163597 h 4606193"/>
              <a:gd name="connsiteX5" fmla="*/ 2618581 w 2618582"/>
              <a:gd name="connsiteY5" fmla="*/ 163597 h 4606193"/>
              <a:gd name="connsiteX6" fmla="*/ 2618581 w 2618582"/>
              <a:gd name="connsiteY6" fmla="*/ 1270280 h 4606193"/>
              <a:gd name="connsiteX7" fmla="*/ 2618582 w 2618582"/>
              <a:gd name="connsiteY7" fmla="*/ 1270280 h 4606193"/>
              <a:gd name="connsiteX8" fmla="*/ 2618582 w 2618582"/>
              <a:gd name="connsiteY8" fmla="*/ 1433876 h 4606193"/>
              <a:gd name="connsiteX9" fmla="*/ 2618581 w 2618582"/>
              <a:gd name="connsiteY9" fmla="*/ 1433876 h 4606193"/>
              <a:gd name="connsiteX10" fmla="*/ 2618581 w 2618582"/>
              <a:gd name="connsiteY10" fmla="*/ 3196396 h 4606193"/>
              <a:gd name="connsiteX11" fmla="*/ 2618581 w 2618582"/>
              <a:gd name="connsiteY11" fmla="*/ 4466675 h 4606193"/>
              <a:gd name="connsiteX12" fmla="*/ 2479063 w 2618582"/>
              <a:gd name="connsiteY12" fmla="*/ 4606193 h 4606193"/>
              <a:gd name="connsiteX13" fmla="*/ 139518 w 2618582"/>
              <a:gd name="connsiteY13" fmla="*/ 4606193 h 4606193"/>
              <a:gd name="connsiteX14" fmla="*/ 0 w 2618582"/>
              <a:gd name="connsiteY14" fmla="*/ 4466675 h 4606193"/>
              <a:gd name="connsiteX15" fmla="*/ 0 w 2618582"/>
              <a:gd name="connsiteY15" fmla="*/ 3196396 h 4606193"/>
              <a:gd name="connsiteX16" fmla="*/ 0 w 2618582"/>
              <a:gd name="connsiteY16" fmla="*/ 1409797 h 4606193"/>
              <a:gd name="connsiteX17" fmla="*/ 0 w 2618582"/>
              <a:gd name="connsiteY17" fmla="*/ 139518 h 4606193"/>
              <a:gd name="connsiteX18" fmla="*/ 1 w 2618582"/>
              <a:gd name="connsiteY18" fmla="*/ 139513 h 4606193"/>
              <a:gd name="connsiteX19" fmla="*/ 1 w 2618582"/>
              <a:gd name="connsiteY19" fmla="*/ 1 h 4606193"/>
              <a:gd name="connsiteX20" fmla="*/ 139513 w 2618582"/>
              <a:gd name="connsiteY20" fmla="*/ 1 h 460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18582" h="4606193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2" y="1"/>
                </a:lnTo>
                <a:lnTo>
                  <a:pt x="2618582" y="163597"/>
                </a:lnTo>
                <a:lnTo>
                  <a:pt x="2618581" y="163597"/>
                </a:lnTo>
                <a:lnTo>
                  <a:pt x="2618581" y="1270280"/>
                </a:lnTo>
                <a:lnTo>
                  <a:pt x="2618582" y="1270280"/>
                </a:lnTo>
                <a:lnTo>
                  <a:pt x="2618582" y="1433876"/>
                </a:lnTo>
                <a:lnTo>
                  <a:pt x="2618581" y="1433876"/>
                </a:lnTo>
                <a:lnTo>
                  <a:pt x="2618581" y="3196396"/>
                </a:lnTo>
                <a:lnTo>
                  <a:pt x="2618581" y="4466675"/>
                </a:lnTo>
                <a:cubicBezTo>
                  <a:pt x="2618581" y="4543729"/>
                  <a:pt x="2556117" y="4606193"/>
                  <a:pt x="2479063" y="4606193"/>
                </a:cubicBezTo>
                <a:lnTo>
                  <a:pt x="139518" y="4606193"/>
                </a:lnTo>
                <a:cubicBezTo>
                  <a:pt x="62464" y="4606193"/>
                  <a:pt x="0" y="4543729"/>
                  <a:pt x="0" y="4466675"/>
                </a:cubicBezTo>
                <a:lnTo>
                  <a:pt x="0" y="3196396"/>
                </a:lnTo>
                <a:lnTo>
                  <a:pt x="0" y="1409797"/>
                </a:lnTo>
                <a:lnTo>
                  <a:pt x="0" y="139518"/>
                </a:lnTo>
                <a:lnTo>
                  <a:pt x="1" y="139513"/>
                </a:lnTo>
                <a:lnTo>
                  <a:pt x="1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448BC2B1-0E7C-9FCF-B0EA-62B8555D2F81}"/>
              </a:ext>
            </a:extLst>
          </p:cNvPr>
          <p:cNvSpPr>
            <a:spLocks/>
          </p:cNvSpPr>
          <p:nvPr userDrawn="1"/>
        </p:nvSpPr>
        <p:spPr>
          <a:xfrm>
            <a:off x="6210299" y="1520825"/>
            <a:ext cx="2618582" cy="4606193"/>
          </a:xfrm>
          <a:custGeom>
            <a:avLst/>
            <a:gdLst>
              <a:gd name="connsiteX0" fmla="*/ 139518 w 2618582"/>
              <a:gd name="connsiteY0" fmla="*/ 0 h 4606193"/>
              <a:gd name="connsiteX1" fmla="*/ 2479063 w 2618582"/>
              <a:gd name="connsiteY1" fmla="*/ 0 h 4606193"/>
              <a:gd name="connsiteX2" fmla="*/ 2479068 w 2618582"/>
              <a:gd name="connsiteY2" fmla="*/ 1 h 4606193"/>
              <a:gd name="connsiteX3" fmla="*/ 2618582 w 2618582"/>
              <a:gd name="connsiteY3" fmla="*/ 1 h 4606193"/>
              <a:gd name="connsiteX4" fmla="*/ 2618582 w 2618582"/>
              <a:gd name="connsiteY4" fmla="*/ 163597 h 4606193"/>
              <a:gd name="connsiteX5" fmla="*/ 2618581 w 2618582"/>
              <a:gd name="connsiteY5" fmla="*/ 163597 h 4606193"/>
              <a:gd name="connsiteX6" fmla="*/ 2618581 w 2618582"/>
              <a:gd name="connsiteY6" fmla="*/ 1270280 h 4606193"/>
              <a:gd name="connsiteX7" fmla="*/ 2618582 w 2618582"/>
              <a:gd name="connsiteY7" fmla="*/ 1270280 h 4606193"/>
              <a:gd name="connsiteX8" fmla="*/ 2618582 w 2618582"/>
              <a:gd name="connsiteY8" fmla="*/ 1433876 h 4606193"/>
              <a:gd name="connsiteX9" fmla="*/ 2618581 w 2618582"/>
              <a:gd name="connsiteY9" fmla="*/ 1433876 h 4606193"/>
              <a:gd name="connsiteX10" fmla="*/ 2618581 w 2618582"/>
              <a:gd name="connsiteY10" fmla="*/ 3196396 h 4606193"/>
              <a:gd name="connsiteX11" fmla="*/ 2618581 w 2618582"/>
              <a:gd name="connsiteY11" fmla="*/ 4466675 h 4606193"/>
              <a:gd name="connsiteX12" fmla="*/ 2479063 w 2618582"/>
              <a:gd name="connsiteY12" fmla="*/ 4606193 h 4606193"/>
              <a:gd name="connsiteX13" fmla="*/ 139518 w 2618582"/>
              <a:gd name="connsiteY13" fmla="*/ 4606193 h 4606193"/>
              <a:gd name="connsiteX14" fmla="*/ 0 w 2618582"/>
              <a:gd name="connsiteY14" fmla="*/ 4466675 h 4606193"/>
              <a:gd name="connsiteX15" fmla="*/ 0 w 2618582"/>
              <a:gd name="connsiteY15" fmla="*/ 3196396 h 4606193"/>
              <a:gd name="connsiteX16" fmla="*/ 0 w 2618582"/>
              <a:gd name="connsiteY16" fmla="*/ 1409797 h 4606193"/>
              <a:gd name="connsiteX17" fmla="*/ 0 w 2618582"/>
              <a:gd name="connsiteY17" fmla="*/ 139518 h 4606193"/>
              <a:gd name="connsiteX18" fmla="*/ 1 w 2618582"/>
              <a:gd name="connsiteY18" fmla="*/ 139513 h 4606193"/>
              <a:gd name="connsiteX19" fmla="*/ 1 w 2618582"/>
              <a:gd name="connsiteY19" fmla="*/ 1 h 4606193"/>
              <a:gd name="connsiteX20" fmla="*/ 139513 w 2618582"/>
              <a:gd name="connsiteY20" fmla="*/ 1 h 460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618582" h="4606193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2" y="1"/>
                </a:lnTo>
                <a:lnTo>
                  <a:pt x="2618582" y="163597"/>
                </a:lnTo>
                <a:lnTo>
                  <a:pt x="2618581" y="163597"/>
                </a:lnTo>
                <a:lnTo>
                  <a:pt x="2618581" y="1270280"/>
                </a:lnTo>
                <a:lnTo>
                  <a:pt x="2618582" y="1270280"/>
                </a:lnTo>
                <a:lnTo>
                  <a:pt x="2618582" y="1433876"/>
                </a:lnTo>
                <a:lnTo>
                  <a:pt x="2618581" y="1433876"/>
                </a:lnTo>
                <a:lnTo>
                  <a:pt x="2618581" y="3196396"/>
                </a:lnTo>
                <a:lnTo>
                  <a:pt x="2618581" y="4466675"/>
                </a:lnTo>
                <a:cubicBezTo>
                  <a:pt x="2618581" y="4543729"/>
                  <a:pt x="2556117" y="4606193"/>
                  <a:pt x="2479063" y="4606193"/>
                </a:cubicBezTo>
                <a:lnTo>
                  <a:pt x="139518" y="4606193"/>
                </a:lnTo>
                <a:cubicBezTo>
                  <a:pt x="62464" y="4606193"/>
                  <a:pt x="0" y="4543729"/>
                  <a:pt x="0" y="4466675"/>
                </a:cubicBezTo>
                <a:lnTo>
                  <a:pt x="0" y="3196396"/>
                </a:lnTo>
                <a:lnTo>
                  <a:pt x="0" y="1409797"/>
                </a:lnTo>
                <a:lnTo>
                  <a:pt x="0" y="139518"/>
                </a:lnTo>
                <a:lnTo>
                  <a:pt x="1" y="139513"/>
                </a:lnTo>
                <a:lnTo>
                  <a:pt x="1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33356FBA-5640-B3E4-40BF-E18E6124D328}"/>
              </a:ext>
            </a:extLst>
          </p:cNvPr>
          <p:cNvSpPr>
            <a:spLocks/>
          </p:cNvSpPr>
          <p:nvPr userDrawn="1"/>
        </p:nvSpPr>
        <p:spPr>
          <a:xfrm>
            <a:off x="9057484" y="1520825"/>
            <a:ext cx="2618581" cy="4606193"/>
          </a:xfrm>
          <a:custGeom>
            <a:avLst/>
            <a:gdLst>
              <a:gd name="connsiteX0" fmla="*/ 139518 w 2618581"/>
              <a:gd name="connsiteY0" fmla="*/ 0 h 4606193"/>
              <a:gd name="connsiteX1" fmla="*/ 2479063 w 2618581"/>
              <a:gd name="connsiteY1" fmla="*/ 0 h 4606193"/>
              <a:gd name="connsiteX2" fmla="*/ 2479068 w 2618581"/>
              <a:gd name="connsiteY2" fmla="*/ 1 h 4606193"/>
              <a:gd name="connsiteX3" fmla="*/ 2618581 w 2618581"/>
              <a:gd name="connsiteY3" fmla="*/ 1 h 4606193"/>
              <a:gd name="connsiteX4" fmla="*/ 2618581 w 2618581"/>
              <a:gd name="connsiteY4" fmla="*/ 139518 h 4606193"/>
              <a:gd name="connsiteX5" fmla="*/ 2618581 w 2618581"/>
              <a:gd name="connsiteY5" fmla="*/ 163597 h 4606193"/>
              <a:gd name="connsiteX6" fmla="*/ 2618581 w 2618581"/>
              <a:gd name="connsiteY6" fmla="*/ 1270280 h 4606193"/>
              <a:gd name="connsiteX7" fmla="*/ 2618581 w 2618581"/>
              <a:gd name="connsiteY7" fmla="*/ 1409797 h 4606193"/>
              <a:gd name="connsiteX8" fmla="*/ 2618581 w 2618581"/>
              <a:gd name="connsiteY8" fmla="*/ 1433876 h 4606193"/>
              <a:gd name="connsiteX9" fmla="*/ 2618581 w 2618581"/>
              <a:gd name="connsiteY9" fmla="*/ 3196396 h 4606193"/>
              <a:gd name="connsiteX10" fmla="*/ 2618581 w 2618581"/>
              <a:gd name="connsiteY10" fmla="*/ 4466675 h 4606193"/>
              <a:gd name="connsiteX11" fmla="*/ 2479063 w 2618581"/>
              <a:gd name="connsiteY11" fmla="*/ 4606193 h 4606193"/>
              <a:gd name="connsiteX12" fmla="*/ 139518 w 2618581"/>
              <a:gd name="connsiteY12" fmla="*/ 4606193 h 4606193"/>
              <a:gd name="connsiteX13" fmla="*/ 0 w 2618581"/>
              <a:gd name="connsiteY13" fmla="*/ 4466675 h 4606193"/>
              <a:gd name="connsiteX14" fmla="*/ 0 w 2618581"/>
              <a:gd name="connsiteY14" fmla="*/ 3196396 h 4606193"/>
              <a:gd name="connsiteX15" fmla="*/ 0 w 2618581"/>
              <a:gd name="connsiteY15" fmla="*/ 1433876 h 4606193"/>
              <a:gd name="connsiteX16" fmla="*/ 0 w 2618581"/>
              <a:gd name="connsiteY16" fmla="*/ 1409797 h 4606193"/>
              <a:gd name="connsiteX17" fmla="*/ 0 w 2618581"/>
              <a:gd name="connsiteY17" fmla="*/ 1270280 h 4606193"/>
              <a:gd name="connsiteX18" fmla="*/ 0 w 2618581"/>
              <a:gd name="connsiteY18" fmla="*/ 163597 h 4606193"/>
              <a:gd name="connsiteX19" fmla="*/ 0 w 2618581"/>
              <a:gd name="connsiteY19" fmla="*/ 139518 h 4606193"/>
              <a:gd name="connsiteX20" fmla="*/ 0 w 2618581"/>
              <a:gd name="connsiteY20" fmla="*/ 1 h 4606193"/>
              <a:gd name="connsiteX21" fmla="*/ 139513 w 2618581"/>
              <a:gd name="connsiteY21" fmla="*/ 1 h 460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618581" h="4606193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1" y="1"/>
                </a:lnTo>
                <a:lnTo>
                  <a:pt x="2618581" y="139518"/>
                </a:lnTo>
                <a:lnTo>
                  <a:pt x="2618581" y="163597"/>
                </a:lnTo>
                <a:lnTo>
                  <a:pt x="2618581" y="1270280"/>
                </a:lnTo>
                <a:lnTo>
                  <a:pt x="2618581" y="1409797"/>
                </a:lnTo>
                <a:lnTo>
                  <a:pt x="2618581" y="1433876"/>
                </a:lnTo>
                <a:lnTo>
                  <a:pt x="2618581" y="3196396"/>
                </a:lnTo>
                <a:lnTo>
                  <a:pt x="2618581" y="4466675"/>
                </a:lnTo>
                <a:cubicBezTo>
                  <a:pt x="2618581" y="4543729"/>
                  <a:pt x="2556117" y="4606193"/>
                  <a:pt x="2479063" y="4606193"/>
                </a:cubicBezTo>
                <a:lnTo>
                  <a:pt x="139518" y="4606193"/>
                </a:lnTo>
                <a:cubicBezTo>
                  <a:pt x="62464" y="4606193"/>
                  <a:pt x="0" y="4543729"/>
                  <a:pt x="0" y="4466675"/>
                </a:cubicBezTo>
                <a:lnTo>
                  <a:pt x="0" y="3196396"/>
                </a:lnTo>
                <a:lnTo>
                  <a:pt x="0" y="1433876"/>
                </a:lnTo>
                <a:lnTo>
                  <a:pt x="0" y="1409797"/>
                </a:lnTo>
                <a:lnTo>
                  <a:pt x="0" y="1270280"/>
                </a:lnTo>
                <a:lnTo>
                  <a:pt x="0" y="163597"/>
                </a:lnTo>
                <a:lnTo>
                  <a:pt x="0" y="139518"/>
                </a:lnTo>
                <a:lnTo>
                  <a:pt x="0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EFB1AB-ECB7-1175-BF46-A09A7797CBF6}"/>
              </a:ext>
            </a:extLst>
          </p:cNvPr>
          <p:cNvSpPr txBox="1"/>
          <p:nvPr userDrawn="1"/>
        </p:nvSpPr>
        <p:spPr>
          <a:xfrm>
            <a:off x="689448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</a:rPr>
              <a:t>01</a:t>
            </a:r>
            <a:endParaRPr lang="en-GB" sz="1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304756-D264-CFFC-A817-6605B4BDCA7D}"/>
              </a:ext>
            </a:extLst>
          </p:cNvPr>
          <p:cNvSpPr txBox="1"/>
          <p:nvPr userDrawn="1"/>
        </p:nvSpPr>
        <p:spPr>
          <a:xfrm>
            <a:off x="3536629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2">
                        <a:lumMod val="75000"/>
                      </a:schemeClr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</a:rPr>
              <a:t>02</a:t>
            </a:r>
            <a:endParaRPr lang="en-GB" sz="14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849217-55C8-5972-EE51-23CCCE1F9BD5}"/>
              </a:ext>
            </a:extLst>
          </p:cNvPr>
          <p:cNvSpPr txBox="1"/>
          <p:nvPr userDrawn="1"/>
        </p:nvSpPr>
        <p:spPr>
          <a:xfrm>
            <a:off x="6383809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3">
                        <a:lumMod val="75000"/>
                      </a:schemeClr>
                    </a:gs>
                    <a:gs pos="100000">
                      <a:schemeClr val="accent3"/>
                    </a:gs>
                  </a:gsLst>
                  <a:lin ang="2700000" scaled="1"/>
                  <a:tileRect/>
                </a:gradFill>
              </a:rPr>
              <a:t>03</a:t>
            </a:r>
            <a:endParaRPr lang="en-GB" sz="1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026537-8E5F-DCB2-BB41-6687AB7F5D7D}"/>
              </a:ext>
            </a:extLst>
          </p:cNvPr>
          <p:cNvSpPr txBox="1"/>
          <p:nvPr userDrawn="1"/>
        </p:nvSpPr>
        <p:spPr>
          <a:xfrm>
            <a:off x="9230991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4">
                        <a:lumMod val="75000"/>
                      </a:schemeClr>
                    </a:gs>
                    <a:gs pos="100000">
                      <a:schemeClr val="accent4"/>
                    </a:gs>
                  </a:gsLst>
                  <a:lin ang="2700000" scaled="1"/>
                  <a:tileRect/>
                </a:gradFill>
              </a:rPr>
              <a:t>04</a:t>
            </a:r>
            <a:endParaRPr lang="en-GB" sz="140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94EB24-F23A-C30D-2687-A816FFBD58DA}"/>
              </a:ext>
            </a:extLst>
          </p:cNvPr>
          <p:cNvCxnSpPr>
            <a:cxnSpLocks/>
          </p:cNvCxnSpPr>
          <p:nvPr userDrawn="1"/>
        </p:nvCxnSpPr>
        <p:spPr>
          <a:xfrm>
            <a:off x="689447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3FDB9D7-1619-5CF8-D26E-C466A04FB156}"/>
              </a:ext>
            </a:extLst>
          </p:cNvPr>
          <p:cNvCxnSpPr>
            <a:cxnSpLocks/>
          </p:cNvCxnSpPr>
          <p:nvPr userDrawn="1"/>
        </p:nvCxnSpPr>
        <p:spPr>
          <a:xfrm>
            <a:off x="3536629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D935634-36B0-4E14-A7DA-6D1F5DE50E27}"/>
              </a:ext>
            </a:extLst>
          </p:cNvPr>
          <p:cNvCxnSpPr>
            <a:cxnSpLocks/>
          </p:cNvCxnSpPr>
          <p:nvPr userDrawn="1"/>
        </p:nvCxnSpPr>
        <p:spPr>
          <a:xfrm>
            <a:off x="6383809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BF0CB5D-45A6-5EC7-42A4-9C0CC88B91AE}"/>
              </a:ext>
            </a:extLst>
          </p:cNvPr>
          <p:cNvCxnSpPr>
            <a:cxnSpLocks/>
          </p:cNvCxnSpPr>
          <p:nvPr userDrawn="1"/>
        </p:nvCxnSpPr>
        <p:spPr>
          <a:xfrm>
            <a:off x="9230991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: Shape 77">
            <a:extLst>
              <a:ext uri="{FF2B5EF4-FFF2-40B4-BE49-F238E27FC236}">
                <a16:creationId xmlns:a16="http://schemas.microsoft.com/office/drawing/2014/main" id="{7C48BAC6-6009-82E9-7855-A699E4F546FA}"/>
              </a:ext>
            </a:extLst>
          </p:cNvPr>
          <p:cNvSpPr/>
          <p:nvPr userDrawn="1"/>
        </p:nvSpPr>
        <p:spPr>
          <a:xfrm>
            <a:off x="515937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5000"/>
                </a:schemeClr>
              </a:gs>
              <a:gs pos="100000">
                <a:schemeClr val="accent1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7" name="Freeform: Shape 78">
            <a:extLst>
              <a:ext uri="{FF2B5EF4-FFF2-40B4-BE49-F238E27FC236}">
                <a16:creationId xmlns:a16="http://schemas.microsoft.com/office/drawing/2014/main" id="{9768B4BA-8307-5B85-02E5-E401B7865B61}"/>
              </a:ext>
            </a:extLst>
          </p:cNvPr>
          <p:cNvSpPr/>
          <p:nvPr userDrawn="1"/>
        </p:nvSpPr>
        <p:spPr>
          <a:xfrm>
            <a:off x="3363120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alpha val="95000"/>
                </a:schemeClr>
              </a:gs>
              <a:gs pos="100000">
                <a:schemeClr val="accent2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gradFill>
                <a:gsLst>
                  <a:gs pos="0">
                    <a:schemeClr val="accent2">
                      <a:lumMod val="75000"/>
                      <a:alpha val="95000"/>
                    </a:schemeClr>
                  </a:gs>
                  <a:gs pos="100000">
                    <a:schemeClr val="accent2">
                      <a:alpha val="60000"/>
                    </a:schemeClr>
                  </a:gs>
                </a:gsLst>
                <a:lin ang="0" scaled="1"/>
              </a:gradFill>
            </a:endParaRPr>
          </a:p>
        </p:txBody>
      </p:sp>
      <p:sp>
        <p:nvSpPr>
          <p:cNvPr id="28" name="Freeform: Shape 79">
            <a:extLst>
              <a:ext uri="{FF2B5EF4-FFF2-40B4-BE49-F238E27FC236}">
                <a16:creationId xmlns:a16="http://schemas.microsoft.com/office/drawing/2014/main" id="{E0C4FEB7-241F-0FE9-D785-871743B35352}"/>
              </a:ext>
            </a:extLst>
          </p:cNvPr>
          <p:cNvSpPr/>
          <p:nvPr userDrawn="1"/>
        </p:nvSpPr>
        <p:spPr>
          <a:xfrm>
            <a:off x="6210301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alpha val="95000"/>
                </a:schemeClr>
              </a:gs>
              <a:gs pos="100000">
                <a:schemeClr val="accent3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9" name="Freeform: Shape 80">
            <a:extLst>
              <a:ext uri="{FF2B5EF4-FFF2-40B4-BE49-F238E27FC236}">
                <a16:creationId xmlns:a16="http://schemas.microsoft.com/office/drawing/2014/main" id="{6C322C92-FF9D-22AB-DC99-692EB7067655}"/>
              </a:ext>
            </a:extLst>
          </p:cNvPr>
          <p:cNvSpPr/>
          <p:nvPr userDrawn="1"/>
        </p:nvSpPr>
        <p:spPr>
          <a:xfrm>
            <a:off x="9057482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  <a:alpha val="95000"/>
                </a:schemeClr>
              </a:gs>
              <a:gs pos="100000">
                <a:schemeClr val="accent4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C76AC4-05D0-76A6-4DCF-1B1D163F7F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EE8D924-9617-C8A1-F8A1-64F8037D41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8975" y="2665477"/>
            <a:ext cx="2252193" cy="3290819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7E0031B5-45C9-A237-03B0-C1C4023E0B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36628" y="2665477"/>
            <a:ext cx="2252193" cy="3290819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218B7E1-A35F-19DE-C039-023B9744D1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3808" y="2665477"/>
            <a:ext cx="2252193" cy="3290819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A84332A8-8AC9-2708-B2ED-08724DC584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30990" y="2665477"/>
            <a:ext cx="2252193" cy="3290819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id="{9622B287-CB68-FB10-0E83-323DA8929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AN Cement Group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67994849-52D2-F2F7-4CBE-E8D7287265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31C82E-7B5F-4FD3-882E-C1FF210412A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58B6A9DD-79BB-D807-5AD7-C38C7AFA88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7463246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Key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ong shot of a road&#10;&#10;Description automatically generated">
            <a:extLst>
              <a:ext uri="{FF2B5EF4-FFF2-40B4-BE49-F238E27FC236}">
                <a16:creationId xmlns:a16="http://schemas.microsoft.com/office/drawing/2014/main" id="{790570FC-4D7E-B82B-74DE-84B4D49A9C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215" r="11520" b="6111"/>
          <a:stretch/>
        </p:blipFill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6858000 h 6858000"/>
              <a:gd name="connsiteX3" fmla="*/ 1219200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close/>
              </a:path>
            </a:pathLst>
          </a:custGeom>
        </p:spPr>
      </p:pic>
      <p:pic>
        <p:nvPicPr>
          <p:cNvPr id="6" name="Picture 5" descr="A long shot of a road&#10;&#10;Description automatically generated">
            <a:extLst>
              <a:ext uri="{FF2B5EF4-FFF2-40B4-BE49-F238E27FC236}">
                <a16:creationId xmlns:a16="http://schemas.microsoft.com/office/drawing/2014/main" id="{75C6D1C8-09E0-5760-6418-4D8FD815EB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744" t="35775" r="15264" b="14045"/>
          <a:stretch/>
        </p:blipFill>
        <p:spPr>
          <a:xfrm flipH="1">
            <a:off x="515940" y="1520827"/>
            <a:ext cx="11160125" cy="4608513"/>
          </a:xfrm>
          <a:custGeom>
            <a:avLst/>
            <a:gdLst>
              <a:gd name="connsiteX0" fmla="*/ 0 w 11160125"/>
              <a:gd name="connsiteY0" fmla="*/ 3542062 h 4608513"/>
              <a:gd name="connsiteX1" fmla="*/ 11160122 w 11160125"/>
              <a:gd name="connsiteY1" fmla="*/ 3542062 h 4608513"/>
              <a:gd name="connsiteX2" fmla="*/ 11160122 w 11160125"/>
              <a:gd name="connsiteY2" fmla="*/ 3705658 h 4608513"/>
              <a:gd name="connsiteX3" fmla="*/ 11157268 w 11160125"/>
              <a:gd name="connsiteY3" fmla="*/ 3705658 h 4608513"/>
              <a:gd name="connsiteX4" fmla="*/ 11160125 w 11160125"/>
              <a:gd name="connsiteY4" fmla="*/ 3719808 h 4608513"/>
              <a:gd name="connsiteX5" fmla="*/ 11160125 w 11160125"/>
              <a:gd name="connsiteY5" fmla="*/ 4430768 h 4608513"/>
              <a:gd name="connsiteX6" fmla="*/ 10982380 w 11160125"/>
              <a:gd name="connsiteY6" fmla="*/ 4608513 h 4608513"/>
              <a:gd name="connsiteX7" fmla="*/ 177746 w 11160125"/>
              <a:gd name="connsiteY7" fmla="*/ 4608513 h 4608513"/>
              <a:gd name="connsiteX8" fmla="*/ 1 w 11160125"/>
              <a:gd name="connsiteY8" fmla="*/ 4430768 h 4608513"/>
              <a:gd name="connsiteX9" fmla="*/ 1 w 11160125"/>
              <a:gd name="connsiteY9" fmla="*/ 3719808 h 4608513"/>
              <a:gd name="connsiteX10" fmla="*/ 2858 w 11160125"/>
              <a:gd name="connsiteY10" fmla="*/ 3705658 h 4608513"/>
              <a:gd name="connsiteX11" fmla="*/ 0 w 11160125"/>
              <a:gd name="connsiteY11" fmla="*/ 3705658 h 4608513"/>
              <a:gd name="connsiteX12" fmla="*/ 8541543 w 11160125"/>
              <a:gd name="connsiteY12" fmla="*/ 0 h 4608513"/>
              <a:gd name="connsiteX13" fmla="*/ 8681061 w 11160125"/>
              <a:gd name="connsiteY13" fmla="*/ 0 h 4608513"/>
              <a:gd name="connsiteX14" fmla="*/ 11020606 w 11160125"/>
              <a:gd name="connsiteY14" fmla="*/ 0 h 4608513"/>
              <a:gd name="connsiteX15" fmla="*/ 11160124 w 11160125"/>
              <a:gd name="connsiteY15" fmla="*/ 0 h 4608513"/>
              <a:gd name="connsiteX16" fmla="*/ 11160124 w 11160125"/>
              <a:gd name="connsiteY16" fmla="*/ 139518 h 4608513"/>
              <a:gd name="connsiteX17" fmla="*/ 11160124 w 11160125"/>
              <a:gd name="connsiteY17" fmla="*/ 163596 h 4608513"/>
              <a:gd name="connsiteX18" fmla="*/ 11160124 w 11160125"/>
              <a:gd name="connsiteY18" fmla="*/ 3196396 h 4608513"/>
              <a:gd name="connsiteX19" fmla="*/ 11020606 w 11160125"/>
              <a:gd name="connsiteY19" fmla="*/ 3335914 h 4608513"/>
              <a:gd name="connsiteX20" fmla="*/ 8681061 w 11160125"/>
              <a:gd name="connsiteY20" fmla="*/ 3335914 h 4608513"/>
              <a:gd name="connsiteX21" fmla="*/ 8541543 w 11160125"/>
              <a:gd name="connsiteY21" fmla="*/ 3196396 h 4608513"/>
              <a:gd name="connsiteX22" fmla="*/ 8541543 w 11160125"/>
              <a:gd name="connsiteY22" fmla="*/ 163596 h 4608513"/>
              <a:gd name="connsiteX23" fmla="*/ 8541543 w 11160125"/>
              <a:gd name="connsiteY23" fmla="*/ 139518 h 4608513"/>
              <a:gd name="connsiteX24" fmla="*/ 5694362 w 11160125"/>
              <a:gd name="connsiteY24" fmla="*/ 0 h 4608513"/>
              <a:gd name="connsiteX25" fmla="*/ 5833880 w 11160125"/>
              <a:gd name="connsiteY25" fmla="*/ 0 h 4608513"/>
              <a:gd name="connsiteX26" fmla="*/ 8173425 w 11160125"/>
              <a:gd name="connsiteY26" fmla="*/ 0 h 4608513"/>
              <a:gd name="connsiteX27" fmla="*/ 8312943 w 11160125"/>
              <a:gd name="connsiteY27" fmla="*/ 0 h 4608513"/>
              <a:gd name="connsiteX28" fmla="*/ 8312943 w 11160125"/>
              <a:gd name="connsiteY28" fmla="*/ 139518 h 4608513"/>
              <a:gd name="connsiteX29" fmla="*/ 8312943 w 11160125"/>
              <a:gd name="connsiteY29" fmla="*/ 163596 h 4608513"/>
              <a:gd name="connsiteX30" fmla="*/ 8312943 w 11160125"/>
              <a:gd name="connsiteY30" fmla="*/ 3196396 h 4608513"/>
              <a:gd name="connsiteX31" fmla="*/ 8173425 w 11160125"/>
              <a:gd name="connsiteY31" fmla="*/ 3335914 h 4608513"/>
              <a:gd name="connsiteX32" fmla="*/ 5833880 w 11160125"/>
              <a:gd name="connsiteY32" fmla="*/ 3335914 h 4608513"/>
              <a:gd name="connsiteX33" fmla="*/ 5694362 w 11160125"/>
              <a:gd name="connsiteY33" fmla="*/ 3196396 h 4608513"/>
              <a:gd name="connsiteX34" fmla="*/ 5694362 w 11160125"/>
              <a:gd name="connsiteY34" fmla="*/ 163596 h 4608513"/>
              <a:gd name="connsiteX35" fmla="*/ 5694362 w 11160125"/>
              <a:gd name="connsiteY35" fmla="*/ 139518 h 4608513"/>
              <a:gd name="connsiteX36" fmla="*/ 2847181 w 11160125"/>
              <a:gd name="connsiteY36" fmla="*/ 0 h 4608513"/>
              <a:gd name="connsiteX37" fmla="*/ 2986701 w 11160125"/>
              <a:gd name="connsiteY37" fmla="*/ 0 h 4608513"/>
              <a:gd name="connsiteX38" fmla="*/ 5326244 w 11160125"/>
              <a:gd name="connsiteY38" fmla="*/ 0 h 4608513"/>
              <a:gd name="connsiteX39" fmla="*/ 5465762 w 11160125"/>
              <a:gd name="connsiteY39" fmla="*/ 0 h 4608513"/>
              <a:gd name="connsiteX40" fmla="*/ 5465762 w 11160125"/>
              <a:gd name="connsiteY40" fmla="*/ 139518 h 4608513"/>
              <a:gd name="connsiteX41" fmla="*/ 5465762 w 11160125"/>
              <a:gd name="connsiteY41" fmla="*/ 163596 h 4608513"/>
              <a:gd name="connsiteX42" fmla="*/ 5465762 w 11160125"/>
              <a:gd name="connsiteY42" fmla="*/ 3196396 h 4608513"/>
              <a:gd name="connsiteX43" fmla="*/ 5326244 w 11160125"/>
              <a:gd name="connsiteY43" fmla="*/ 3335914 h 4608513"/>
              <a:gd name="connsiteX44" fmla="*/ 2986701 w 11160125"/>
              <a:gd name="connsiteY44" fmla="*/ 3335914 h 4608513"/>
              <a:gd name="connsiteX45" fmla="*/ 2847182 w 11160125"/>
              <a:gd name="connsiteY45" fmla="*/ 3196396 h 4608513"/>
              <a:gd name="connsiteX46" fmla="*/ 2847182 w 11160125"/>
              <a:gd name="connsiteY46" fmla="*/ 163596 h 4608513"/>
              <a:gd name="connsiteX47" fmla="*/ 2847181 w 11160125"/>
              <a:gd name="connsiteY47" fmla="*/ 163596 h 4608513"/>
              <a:gd name="connsiteX48" fmla="*/ 0 w 11160125"/>
              <a:gd name="connsiteY48" fmla="*/ 0 h 4608513"/>
              <a:gd name="connsiteX49" fmla="*/ 139520 w 11160125"/>
              <a:gd name="connsiteY49" fmla="*/ 0 h 4608513"/>
              <a:gd name="connsiteX50" fmla="*/ 2479065 w 11160125"/>
              <a:gd name="connsiteY50" fmla="*/ 0 h 4608513"/>
              <a:gd name="connsiteX51" fmla="*/ 2618581 w 11160125"/>
              <a:gd name="connsiteY51" fmla="*/ 0 h 4608513"/>
              <a:gd name="connsiteX52" fmla="*/ 2618581 w 11160125"/>
              <a:gd name="connsiteY52" fmla="*/ 139515 h 4608513"/>
              <a:gd name="connsiteX53" fmla="*/ 2618582 w 11160125"/>
              <a:gd name="connsiteY53" fmla="*/ 139518 h 4608513"/>
              <a:gd name="connsiteX54" fmla="*/ 2618582 w 11160125"/>
              <a:gd name="connsiteY54" fmla="*/ 3196396 h 4608513"/>
              <a:gd name="connsiteX55" fmla="*/ 2479065 w 11160125"/>
              <a:gd name="connsiteY55" fmla="*/ 3335914 h 4608513"/>
              <a:gd name="connsiteX56" fmla="*/ 139520 w 11160125"/>
              <a:gd name="connsiteY56" fmla="*/ 3335914 h 4608513"/>
              <a:gd name="connsiteX57" fmla="*/ 1 w 11160125"/>
              <a:gd name="connsiteY57" fmla="*/ 3196396 h 4608513"/>
              <a:gd name="connsiteX58" fmla="*/ 1 w 11160125"/>
              <a:gd name="connsiteY58" fmla="*/ 163596 h 4608513"/>
              <a:gd name="connsiteX59" fmla="*/ 0 w 11160125"/>
              <a:gd name="connsiteY59" fmla="*/ 163596 h 4608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</a:cxnLst>
            <a:rect l="l" t="t" r="r" b="b"/>
            <a:pathLst>
              <a:path w="11160125" h="4608513">
                <a:moveTo>
                  <a:pt x="0" y="3542062"/>
                </a:moveTo>
                <a:lnTo>
                  <a:pt x="11160122" y="3542062"/>
                </a:lnTo>
                <a:lnTo>
                  <a:pt x="11160122" y="3705658"/>
                </a:lnTo>
                <a:lnTo>
                  <a:pt x="11157268" y="3705658"/>
                </a:lnTo>
                <a:lnTo>
                  <a:pt x="11160125" y="3719808"/>
                </a:lnTo>
                <a:lnTo>
                  <a:pt x="11160125" y="4430768"/>
                </a:lnTo>
                <a:cubicBezTo>
                  <a:pt x="11160125" y="4528934"/>
                  <a:pt x="11080546" y="4608513"/>
                  <a:pt x="10982380" y="4608513"/>
                </a:cubicBezTo>
                <a:lnTo>
                  <a:pt x="177746" y="4608513"/>
                </a:lnTo>
                <a:cubicBezTo>
                  <a:pt x="79580" y="4608513"/>
                  <a:pt x="1" y="4528934"/>
                  <a:pt x="1" y="4430768"/>
                </a:cubicBezTo>
                <a:lnTo>
                  <a:pt x="1" y="3719808"/>
                </a:lnTo>
                <a:lnTo>
                  <a:pt x="2858" y="3705658"/>
                </a:lnTo>
                <a:lnTo>
                  <a:pt x="0" y="3705658"/>
                </a:lnTo>
                <a:close/>
                <a:moveTo>
                  <a:pt x="8541543" y="0"/>
                </a:moveTo>
                <a:lnTo>
                  <a:pt x="8681061" y="0"/>
                </a:lnTo>
                <a:lnTo>
                  <a:pt x="11020606" y="0"/>
                </a:lnTo>
                <a:lnTo>
                  <a:pt x="11160124" y="0"/>
                </a:lnTo>
                <a:lnTo>
                  <a:pt x="11160124" y="139518"/>
                </a:lnTo>
                <a:lnTo>
                  <a:pt x="11160124" y="163596"/>
                </a:lnTo>
                <a:lnTo>
                  <a:pt x="11160124" y="3196396"/>
                </a:lnTo>
                <a:cubicBezTo>
                  <a:pt x="11160124" y="3273450"/>
                  <a:pt x="11097660" y="3335914"/>
                  <a:pt x="11020606" y="3335914"/>
                </a:cubicBezTo>
                <a:lnTo>
                  <a:pt x="8681061" y="3335914"/>
                </a:lnTo>
                <a:cubicBezTo>
                  <a:pt x="8604007" y="3335914"/>
                  <a:pt x="8541543" y="3273450"/>
                  <a:pt x="8541543" y="3196396"/>
                </a:cubicBezTo>
                <a:lnTo>
                  <a:pt x="8541543" y="163596"/>
                </a:lnTo>
                <a:lnTo>
                  <a:pt x="8541543" y="139518"/>
                </a:lnTo>
                <a:close/>
                <a:moveTo>
                  <a:pt x="5694362" y="0"/>
                </a:moveTo>
                <a:lnTo>
                  <a:pt x="5833880" y="0"/>
                </a:lnTo>
                <a:lnTo>
                  <a:pt x="8173425" y="0"/>
                </a:lnTo>
                <a:lnTo>
                  <a:pt x="8312943" y="0"/>
                </a:lnTo>
                <a:lnTo>
                  <a:pt x="8312943" y="139518"/>
                </a:lnTo>
                <a:lnTo>
                  <a:pt x="8312943" y="163596"/>
                </a:lnTo>
                <a:lnTo>
                  <a:pt x="8312943" y="3196396"/>
                </a:lnTo>
                <a:cubicBezTo>
                  <a:pt x="8312943" y="3273450"/>
                  <a:pt x="8250479" y="3335914"/>
                  <a:pt x="8173425" y="3335914"/>
                </a:cubicBezTo>
                <a:lnTo>
                  <a:pt x="5833880" y="3335914"/>
                </a:lnTo>
                <a:cubicBezTo>
                  <a:pt x="5756826" y="3335914"/>
                  <a:pt x="5694362" y="3273450"/>
                  <a:pt x="5694362" y="3196396"/>
                </a:cubicBezTo>
                <a:lnTo>
                  <a:pt x="5694362" y="163596"/>
                </a:lnTo>
                <a:lnTo>
                  <a:pt x="5694362" y="139518"/>
                </a:lnTo>
                <a:close/>
                <a:moveTo>
                  <a:pt x="2847181" y="0"/>
                </a:moveTo>
                <a:lnTo>
                  <a:pt x="2986701" y="0"/>
                </a:lnTo>
                <a:lnTo>
                  <a:pt x="5326244" y="0"/>
                </a:lnTo>
                <a:lnTo>
                  <a:pt x="5465762" y="0"/>
                </a:lnTo>
                <a:lnTo>
                  <a:pt x="5465762" y="139518"/>
                </a:lnTo>
                <a:lnTo>
                  <a:pt x="5465762" y="163596"/>
                </a:lnTo>
                <a:lnTo>
                  <a:pt x="5465762" y="3196396"/>
                </a:lnTo>
                <a:cubicBezTo>
                  <a:pt x="5465762" y="3273450"/>
                  <a:pt x="5403299" y="3335914"/>
                  <a:pt x="5326244" y="3335914"/>
                </a:cubicBezTo>
                <a:lnTo>
                  <a:pt x="2986701" y="3335914"/>
                </a:lnTo>
                <a:cubicBezTo>
                  <a:pt x="2909646" y="3335914"/>
                  <a:pt x="2847182" y="3273450"/>
                  <a:pt x="2847182" y="3196396"/>
                </a:cubicBezTo>
                <a:lnTo>
                  <a:pt x="2847182" y="163596"/>
                </a:lnTo>
                <a:lnTo>
                  <a:pt x="2847181" y="163596"/>
                </a:lnTo>
                <a:close/>
                <a:moveTo>
                  <a:pt x="0" y="0"/>
                </a:moveTo>
                <a:lnTo>
                  <a:pt x="139520" y="0"/>
                </a:lnTo>
                <a:lnTo>
                  <a:pt x="2479065" y="0"/>
                </a:lnTo>
                <a:lnTo>
                  <a:pt x="2618581" y="0"/>
                </a:lnTo>
                <a:lnTo>
                  <a:pt x="2618581" y="139515"/>
                </a:lnTo>
                <a:lnTo>
                  <a:pt x="2618582" y="139518"/>
                </a:lnTo>
                <a:lnTo>
                  <a:pt x="2618582" y="3196396"/>
                </a:lnTo>
                <a:cubicBezTo>
                  <a:pt x="2618582" y="3273450"/>
                  <a:pt x="2556119" y="3335914"/>
                  <a:pt x="2479065" y="3335914"/>
                </a:cubicBezTo>
                <a:lnTo>
                  <a:pt x="139520" y="3335914"/>
                </a:lnTo>
                <a:cubicBezTo>
                  <a:pt x="62466" y="3335914"/>
                  <a:pt x="1" y="3273450"/>
                  <a:pt x="1" y="3196396"/>
                </a:cubicBezTo>
                <a:lnTo>
                  <a:pt x="1" y="163596"/>
                </a:lnTo>
                <a:lnTo>
                  <a:pt x="0" y="163596"/>
                </a:lnTo>
                <a:close/>
              </a:path>
            </a:pathLst>
          </a:custGeom>
          <a:effectLst>
            <a:outerShdw blurRad="254000" algn="ctr" rotWithShape="0">
              <a:prstClr val="black">
                <a:alpha val="30000"/>
              </a:prstClr>
            </a:outerShdw>
          </a:effec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6B2F355-08DD-0397-4404-3A58BB9E6963}"/>
              </a:ext>
            </a:extLst>
          </p:cNvPr>
          <p:cNvSpPr/>
          <p:nvPr userDrawn="1"/>
        </p:nvSpPr>
        <p:spPr>
          <a:xfrm flipV="1">
            <a:off x="0" y="4153297"/>
            <a:ext cx="12192000" cy="2704701"/>
          </a:xfrm>
          <a:prstGeom prst="rect">
            <a:avLst/>
          </a:prstGeom>
          <a:gradFill>
            <a:gsLst>
              <a:gs pos="0">
                <a:schemeClr val="bg1">
                  <a:alpha val="75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B8571CAA-0AAD-4C76-1F7D-DF1D431389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956" r="956"/>
          <a:stretch/>
        </p:blipFill>
        <p:spPr>
          <a:xfrm>
            <a:off x="10543659" y="371929"/>
            <a:ext cx="1132403" cy="301171"/>
          </a:xfrm>
          <a:prstGeom prst="rect">
            <a:avLst/>
          </a:prstGeom>
        </p:spPr>
      </p:pic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FEA4F4C-FD27-3476-7D46-71825AAD797D}"/>
              </a:ext>
            </a:extLst>
          </p:cNvPr>
          <p:cNvSpPr/>
          <p:nvPr userDrawn="1"/>
        </p:nvSpPr>
        <p:spPr>
          <a:xfrm>
            <a:off x="515939" y="5062888"/>
            <a:ext cx="11160125" cy="1066450"/>
          </a:xfrm>
          <a:custGeom>
            <a:avLst/>
            <a:gdLst>
              <a:gd name="connsiteX0" fmla="*/ 0 w 11160125"/>
              <a:gd name="connsiteY0" fmla="*/ 0 h 1066450"/>
              <a:gd name="connsiteX1" fmla="*/ 177745 w 11160125"/>
              <a:gd name="connsiteY1" fmla="*/ 0 h 1066450"/>
              <a:gd name="connsiteX2" fmla="*/ 10982380 w 11160125"/>
              <a:gd name="connsiteY2" fmla="*/ 0 h 1066450"/>
              <a:gd name="connsiteX3" fmla="*/ 11160123 w 11160125"/>
              <a:gd name="connsiteY3" fmla="*/ 0 h 1066450"/>
              <a:gd name="connsiteX4" fmla="*/ 11160123 w 11160125"/>
              <a:gd name="connsiteY4" fmla="*/ 163596 h 1066450"/>
              <a:gd name="connsiteX5" fmla="*/ 11157268 w 11160125"/>
              <a:gd name="connsiteY5" fmla="*/ 163596 h 1066450"/>
              <a:gd name="connsiteX6" fmla="*/ 11160125 w 11160125"/>
              <a:gd name="connsiteY6" fmla="*/ 177745 h 1066450"/>
              <a:gd name="connsiteX7" fmla="*/ 11160125 w 11160125"/>
              <a:gd name="connsiteY7" fmla="*/ 888705 h 1066450"/>
              <a:gd name="connsiteX8" fmla="*/ 10982380 w 11160125"/>
              <a:gd name="connsiteY8" fmla="*/ 1066450 h 1066450"/>
              <a:gd name="connsiteX9" fmla="*/ 177745 w 11160125"/>
              <a:gd name="connsiteY9" fmla="*/ 1066450 h 1066450"/>
              <a:gd name="connsiteX10" fmla="*/ 0 w 11160125"/>
              <a:gd name="connsiteY10" fmla="*/ 888705 h 1066450"/>
              <a:gd name="connsiteX11" fmla="*/ 0 w 11160125"/>
              <a:gd name="connsiteY11" fmla="*/ 177745 h 1066450"/>
              <a:gd name="connsiteX12" fmla="*/ 2857 w 11160125"/>
              <a:gd name="connsiteY12" fmla="*/ 163596 h 1066450"/>
              <a:gd name="connsiteX13" fmla="*/ 0 w 11160125"/>
              <a:gd name="connsiteY13" fmla="*/ 163596 h 1066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1160125" h="1066450">
                <a:moveTo>
                  <a:pt x="0" y="0"/>
                </a:moveTo>
                <a:lnTo>
                  <a:pt x="177745" y="0"/>
                </a:lnTo>
                <a:lnTo>
                  <a:pt x="10982380" y="0"/>
                </a:lnTo>
                <a:lnTo>
                  <a:pt x="11160123" y="0"/>
                </a:lnTo>
                <a:lnTo>
                  <a:pt x="11160123" y="163596"/>
                </a:lnTo>
                <a:lnTo>
                  <a:pt x="11157268" y="163596"/>
                </a:lnTo>
                <a:lnTo>
                  <a:pt x="11160125" y="177745"/>
                </a:lnTo>
                <a:lnTo>
                  <a:pt x="11160125" y="888705"/>
                </a:lnTo>
                <a:cubicBezTo>
                  <a:pt x="11160125" y="986871"/>
                  <a:pt x="11080546" y="1066450"/>
                  <a:pt x="10982380" y="1066450"/>
                </a:cubicBezTo>
                <a:lnTo>
                  <a:pt x="177745" y="1066450"/>
                </a:lnTo>
                <a:cubicBezTo>
                  <a:pt x="79579" y="1066450"/>
                  <a:pt x="0" y="986871"/>
                  <a:pt x="0" y="888705"/>
                </a:cubicBezTo>
                <a:lnTo>
                  <a:pt x="0" y="177745"/>
                </a:lnTo>
                <a:lnTo>
                  <a:pt x="2857" y="163596"/>
                </a:lnTo>
                <a:lnTo>
                  <a:pt x="0" y="163596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BBB197A-A975-F276-3235-5C6AA907D535}"/>
              </a:ext>
            </a:extLst>
          </p:cNvPr>
          <p:cNvSpPr>
            <a:spLocks/>
          </p:cNvSpPr>
          <p:nvPr userDrawn="1"/>
        </p:nvSpPr>
        <p:spPr>
          <a:xfrm>
            <a:off x="515940" y="1520825"/>
            <a:ext cx="2618582" cy="3335914"/>
          </a:xfrm>
          <a:custGeom>
            <a:avLst/>
            <a:gdLst>
              <a:gd name="connsiteX0" fmla="*/ 139518 w 2618582"/>
              <a:gd name="connsiteY0" fmla="*/ 0 h 3335914"/>
              <a:gd name="connsiteX1" fmla="*/ 2479063 w 2618582"/>
              <a:gd name="connsiteY1" fmla="*/ 0 h 3335914"/>
              <a:gd name="connsiteX2" fmla="*/ 2479068 w 2618582"/>
              <a:gd name="connsiteY2" fmla="*/ 1 h 3335914"/>
              <a:gd name="connsiteX3" fmla="*/ 2618582 w 2618582"/>
              <a:gd name="connsiteY3" fmla="*/ 1 h 3335914"/>
              <a:gd name="connsiteX4" fmla="*/ 2618582 w 2618582"/>
              <a:gd name="connsiteY4" fmla="*/ 163597 h 3335914"/>
              <a:gd name="connsiteX5" fmla="*/ 2618581 w 2618582"/>
              <a:gd name="connsiteY5" fmla="*/ 163597 h 3335914"/>
              <a:gd name="connsiteX6" fmla="*/ 2618581 w 2618582"/>
              <a:gd name="connsiteY6" fmla="*/ 3196396 h 3335914"/>
              <a:gd name="connsiteX7" fmla="*/ 2479063 w 2618582"/>
              <a:gd name="connsiteY7" fmla="*/ 3335914 h 3335914"/>
              <a:gd name="connsiteX8" fmla="*/ 139518 w 2618582"/>
              <a:gd name="connsiteY8" fmla="*/ 3335914 h 3335914"/>
              <a:gd name="connsiteX9" fmla="*/ 0 w 2618582"/>
              <a:gd name="connsiteY9" fmla="*/ 3196396 h 3335914"/>
              <a:gd name="connsiteX10" fmla="*/ 0 w 2618582"/>
              <a:gd name="connsiteY10" fmla="*/ 139518 h 3335914"/>
              <a:gd name="connsiteX11" fmla="*/ 1 w 2618582"/>
              <a:gd name="connsiteY11" fmla="*/ 139513 h 3335914"/>
              <a:gd name="connsiteX12" fmla="*/ 1 w 2618582"/>
              <a:gd name="connsiteY12" fmla="*/ 1 h 3335914"/>
              <a:gd name="connsiteX13" fmla="*/ 139513 w 2618582"/>
              <a:gd name="connsiteY13" fmla="*/ 1 h 333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8582" h="3335914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2" y="1"/>
                </a:lnTo>
                <a:lnTo>
                  <a:pt x="2618582" y="163597"/>
                </a:lnTo>
                <a:lnTo>
                  <a:pt x="2618581" y="163597"/>
                </a:lnTo>
                <a:lnTo>
                  <a:pt x="2618581" y="3196396"/>
                </a:lnTo>
                <a:cubicBezTo>
                  <a:pt x="2618581" y="3273450"/>
                  <a:pt x="2556117" y="3335914"/>
                  <a:pt x="2479063" y="3335914"/>
                </a:cubicBezTo>
                <a:lnTo>
                  <a:pt x="139518" y="3335914"/>
                </a:lnTo>
                <a:cubicBezTo>
                  <a:pt x="62464" y="3335914"/>
                  <a:pt x="0" y="3273450"/>
                  <a:pt x="0" y="3196396"/>
                </a:cubicBezTo>
                <a:lnTo>
                  <a:pt x="0" y="139518"/>
                </a:lnTo>
                <a:lnTo>
                  <a:pt x="1" y="139513"/>
                </a:lnTo>
                <a:lnTo>
                  <a:pt x="1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C2A033D0-6C07-5ECA-51B3-9085FEAB945B}"/>
              </a:ext>
            </a:extLst>
          </p:cNvPr>
          <p:cNvSpPr>
            <a:spLocks/>
          </p:cNvSpPr>
          <p:nvPr userDrawn="1"/>
        </p:nvSpPr>
        <p:spPr>
          <a:xfrm>
            <a:off x="3363118" y="1520825"/>
            <a:ext cx="2618582" cy="3335914"/>
          </a:xfrm>
          <a:custGeom>
            <a:avLst/>
            <a:gdLst>
              <a:gd name="connsiteX0" fmla="*/ 139518 w 2618582"/>
              <a:gd name="connsiteY0" fmla="*/ 0 h 3335914"/>
              <a:gd name="connsiteX1" fmla="*/ 2479063 w 2618582"/>
              <a:gd name="connsiteY1" fmla="*/ 0 h 3335914"/>
              <a:gd name="connsiteX2" fmla="*/ 2479068 w 2618582"/>
              <a:gd name="connsiteY2" fmla="*/ 1 h 3335914"/>
              <a:gd name="connsiteX3" fmla="*/ 2618582 w 2618582"/>
              <a:gd name="connsiteY3" fmla="*/ 1 h 3335914"/>
              <a:gd name="connsiteX4" fmla="*/ 2618582 w 2618582"/>
              <a:gd name="connsiteY4" fmla="*/ 163597 h 3335914"/>
              <a:gd name="connsiteX5" fmla="*/ 2618581 w 2618582"/>
              <a:gd name="connsiteY5" fmla="*/ 163597 h 3335914"/>
              <a:gd name="connsiteX6" fmla="*/ 2618581 w 2618582"/>
              <a:gd name="connsiteY6" fmla="*/ 3196396 h 3335914"/>
              <a:gd name="connsiteX7" fmla="*/ 2479063 w 2618582"/>
              <a:gd name="connsiteY7" fmla="*/ 3335914 h 3335914"/>
              <a:gd name="connsiteX8" fmla="*/ 139518 w 2618582"/>
              <a:gd name="connsiteY8" fmla="*/ 3335914 h 3335914"/>
              <a:gd name="connsiteX9" fmla="*/ 0 w 2618582"/>
              <a:gd name="connsiteY9" fmla="*/ 3196396 h 3335914"/>
              <a:gd name="connsiteX10" fmla="*/ 0 w 2618582"/>
              <a:gd name="connsiteY10" fmla="*/ 139518 h 3335914"/>
              <a:gd name="connsiteX11" fmla="*/ 1 w 2618582"/>
              <a:gd name="connsiteY11" fmla="*/ 139513 h 3335914"/>
              <a:gd name="connsiteX12" fmla="*/ 1 w 2618582"/>
              <a:gd name="connsiteY12" fmla="*/ 1 h 3335914"/>
              <a:gd name="connsiteX13" fmla="*/ 139513 w 2618582"/>
              <a:gd name="connsiteY13" fmla="*/ 1 h 333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8582" h="3335914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2" y="1"/>
                </a:lnTo>
                <a:lnTo>
                  <a:pt x="2618582" y="163597"/>
                </a:lnTo>
                <a:lnTo>
                  <a:pt x="2618581" y="163597"/>
                </a:lnTo>
                <a:lnTo>
                  <a:pt x="2618581" y="3196396"/>
                </a:lnTo>
                <a:cubicBezTo>
                  <a:pt x="2618581" y="3273450"/>
                  <a:pt x="2556117" y="3335914"/>
                  <a:pt x="2479063" y="3335914"/>
                </a:cubicBezTo>
                <a:lnTo>
                  <a:pt x="139518" y="3335914"/>
                </a:lnTo>
                <a:cubicBezTo>
                  <a:pt x="62464" y="3335914"/>
                  <a:pt x="0" y="3273450"/>
                  <a:pt x="0" y="3196396"/>
                </a:cubicBezTo>
                <a:lnTo>
                  <a:pt x="0" y="139518"/>
                </a:lnTo>
                <a:lnTo>
                  <a:pt x="1" y="139513"/>
                </a:lnTo>
                <a:lnTo>
                  <a:pt x="1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27ABC89-9054-0603-964D-6EC655C4CB37}"/>
              </a:ext>
            </a:extLst>
          </p:cNvPr>
          <p:cNvSpPr>
            <a:spLocks/>
          </p:cNvSpPr>
          <p:nvPr userDrawn="1"/>
        </p:nvSpPr>
        <p:spPr>
          <a:xfrm>
            <a:off x="6210299" y="1520825"/>
            <a:ext cx="2618582" cy="3335914"/>
          </a:xfrm>
          <a:custGeom>
            <a:avLst/>
            <a:gdLst>
              <a:gd name="connsiteX0" fmla="*/ 139518 w 2618582"/>
              <a:gd name="connsiteY0" fmla="*/ 0 h 3335914"/>
              <a:gd name="connsiteX1" fmla="*/ 2479063 w 2618582"/>
              <a:gd name="connsiteY1" fmla="*/ 0 h 3335914"/>
              <a:gd name="connsiteX2" fmla="*/ 2479068 w 2618582"/>
              <a:gd name="connsiteY2" fmla="*/ 1 h 3335914"/>
              <a:gd name="connsiteX3" fmla="*/ 2618582 w 2618582"/>
              <a:gd name="connsiteY3" fmla="*/ 1 h 3335914"/>
              <a:gd name="connsiteX4" fmla="*/ 2618582 w 2618582"/>
              <a:gd name="connsiteY4" fmla="*/ 163597 h 3335914"/>
              <a:gd name="connsiteX5" fmla="*/ 2618581 w 2618582"/>
              <a:gd name="connsiteY5" fmla="*/ 163597 h 3335914"/>
              <a:gd name="connsiteX6" fmla="*/ 2618581 w 2618582"/>
              <a:gd name="connsiteY6" fmla="*/ 3196396 h 3335914"/>
              <a:gd name="connsiteX7" fmla="*/ 2479063 w 2618582"/>
              <a:gd name="connsiteY7" fmla="*/ 3335914 h 3335914"/>
              <a:gd name="connsiteX8" fmla="*/ 139518 w 2618582"/>
              <a:gd name="connsiteY8" fmla="*/ 3335914 h 3335914"/>
              <a:gd name="connsiteX9" fmla="*/ 0 w 2618582"/>
              <a:gd name="connsiteY9" fmla="*/ 3196396 h 3335914"/>
              <a:gd name="connsiteX10" fmla="*/ 0 w 2618582"/>
              <a:gd name="connsiteY10" fmla="*/ 139518 h 3335914"/>
              <a:gd name="connsiteX11" fmla="*/ 1 w 2618582"/>
              <a:gd name="connsiteY11" fmla="*/ 139513 h 3335914"/>
              <a:gd name="connsiteX12" fmla="*/ 1 w 2618582"/>
              <a:gd name="connsiteY12" fmla="*/ 1 h 3335914"/>
              <a:gd name="connsiteX13" fmla="*/ 139513 w 2618582"/>
              <a:gd name="connsiteY13" fmla="*/ 1 h 333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8582" h="3335914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2" y="1"/>
                </a:lnTo>
                <a:lnTo>
                  <a:pt x="2618582" y="163597"/>
                </a:lnTo>
                <a:lnTo>
                  <a:pt x="2618581" y="163597"/>
                </a:lnTo>
                <a:lnTo>
                  <a:pt x="2618581" y="3196396"/>
                </a:lnTo>
                <a:cubicBezTo>
                  <a:pt x="2618581" y="3273450"/>
                  <a:pt x="2556117" y="3335914"/>
                  <a:pt x="2479063" y="3335914"/>
                </a:cubicBezTo>
                <a:lnTo>
                  <a:pt x="139518" y="3335914"/>
                </a:lnTo>
                <a:cubicBezTo>
                  <a:pt x="62464" y="3335914"/>
                  <a:pt x="0" y="3273450"/>
                  <a:pt x="0" y="3196396"/>
                </a:cubicBezTo>
                <a:lnTo>
                  <a:pt x="0" y="139518"/>
                </a:lnTo>
                <a:lnTo>
                  <a:pt x="1" y="139513"/>
                </a:lnTo>
                <a:lnTo>
                  <a:pt x="1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572D49D-B1D7-6442-568C-C17BB1E6BF71}"/>
              </a:ext>
            </a:extLst>
          </p:cNvPr>
          <p:cNvSpPr>
            <a:spLocks/>
          </p:cNvSpPr>
          <p:nvPr userDrawn="1"/>
        </p:nvSpPr>
        <p:spPr>
          <a:xfrm>
            <a:off x="9057483" y="1520825"/>
            <a:ext cx="2618581" cy="3335914"/>
          </a:xfrm>
          <a:custGeom>
            <a:avLst/>
            <a:gdLst>
              <a:gd name="connsiteX0" fmla="*/ 139518 w 2618581"/>
              <a:gd name="connsiteY0" fmla="*/ 0 h 3335914"/>
              <a:gd name="connsiteX1" fmla="*/ 2479063 w 2618581"/>
              <a:gd name="connsiteY1" fmla="*/ 0 h 3335914"/>
              <a:gd name="connsiteX2" fmla="*/ 2479068 w 2618581"/>
              <a:gd name="connsiteY2" fmla="*/ 1 h 3335914"/>
              <a:gd name="connsiteX3" fmla="*/ 2618581 w 2618581"/>
              <a:gd name="connsiteY3" fmla="*/ 1 h 3335914"/>
              <a:gd name="connsiteX4" fmla="*/ 2618581 w 2618581"/>
              <a:gd name="connsiteY4" fmla="*/ 139518 h 3335914"/>
              <a:gd name="connsiteX5" fmla="*/ 2618581 w 2618581"/>
              <a:gd name="connsiteY5" fmla="*/ 163597 h 3335914"/>
              <a:gd name="connsiteX6" fmla="*/ 2618581 w 2618581"/>
              <a:gd name="connsiteY6" fmla="*/ 3196396 h 3335914"/>
              <a:gd name="connsiteX7" fmla="*/ 2479063 w 2618581"/>
              <a:gd name="connsiteY7" fmla="*/ 3335914 h 3335914"/>
              <a:gd name="connsiteX8" fmla="*/ 139518 w 2618581"/>
              <a:gd name="connsiteY8" fmla="*/ 3335914 h 3335914"/>
              <a:gd name="connsiteX9" fmla="*/ 0 w 2618581"/>
              <a:gd name="connsiteY9" fmla="*/ 3196396 h 3335914"/>
              <a:gd name="connsiteX10" fmla="*/ 0 w 2618581"/>
              <a:gd name="connsiteY10" fmla="*/ 163597 h 3335914"/>
              <a:gd name="connsiteX11" fmla="*/ 0 w 2618581"/>
              <a:gd name="connsiteY11" fmla="*/ 139518 h 3335914"/>
              <a:gd name="connsiteX12" fmla="*/ 0 w 2618581"/>
              <a:gd name="connsiteY12" fmla="*/ 1 h 3335914"/>
              <a:gd name="connsiteX13" fmla="*/ 139513 w 2618581"/>
              <a:gd name="connsiteY13" fmla="*/ 1 h 33359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618581" h="3335914">
                <a:moveTo>
                  <a:pt x="139518" y="0"/>
                </a:moveTo>
                <a:lnTo>
                  <a:pt x="2479063" y="0"/>
                </a:lnTo>
                <a:lnTo>
                  <a:pt x="2479068" y="1"/>
                </a:lnTo>
                <a:lnTo>
                  <a:pt x="2618581" y="1"/>
                </a:lnTo>
                <a:lnTo>
                  <a:pt x="2618581" y="139518"/>
                </a:lnTo>
                <a:lnTo>
                  <a:pt x="2618581" y="163597"/>
                </a:lnTo>
                <a:lnTo>
                  <a:pt x="2618581" y="3196396"/>
                </a:lnTo>
                <a:cubicBezTo>
                  <a:pt x="2618581" y="3273450"/>
                  <a:pt x="2556117" y="3335914"/>
                  <a:pt x="2479063" y="3335914"/>
                </a:cubicBezTo>
                <a:lnTo>
                  <a:pt x="139518" y="3335914"/>
                </a:lnTo>
                <a:cubicBezTo>
                  <a:pt x="62464" y="3335914"/>
                  <a:pt x="0" y="3273450"/>
                  <a:pt x="0" y="3196396"/>
                </a:cubicBezTo>
                <a:lnTo>
                  <a:pt x="0" y="163597"/>
                </a:lnTo>
                <a:lnTo>
                  <a:pt x="0" y="139518"/>
                </a:lnTo>
                <a:lnTo>
                  <a:pt x="0" y="1"/>
                </a:lnTo>
                <a:lnTo>
                  <a:pt x="139513" y="1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5000"/>
                </a:schemeClr>
              </a:gs>
              <a:gs pos="100000">
                <a:schemeClr val="bg1">
                  <a:alpha val="6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0EFB1AB-ECB7-1175-BF46-A09A7797CBF6}"/>
              </a:ext>
            </a:extLst>
          </p:cNvPr>
          <p:cNvSpPr txBox="1"/>
          <p:nvPr userDrawn="1"/>
        </p:nvSpPr>
        <p:spPr>
          <a:xfrm>
            <a:off x="689448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</a:rPr>
              <a:t>01</a:t>
            </a:r>
            <a:endParaRPr lang="en-GB" sz="1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0304756-D264-CFFC-A817-6605B4BDCA7D}"/>
              </a:ext>
            </a:extLst>
          </p:cNvPr>
          <p:cNvSpPr txBox="1"/>
          <p:nvPr userDrawn="1"/>
        </p:nvSpPr>
        <p:spPr>
          <a:xfrm>
            <a:off x="3536629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2">
                        <a:lumMod val="75000"/>
                      </a:schemeClr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</a:rPr>
              <a:t>02</a:t>
            </a:r>
            <a:endParaRPr lang="en-GB" sz="14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849217-55C8-5972-EE51-23CCCE1F9BD5}"/>
              </a:ext>
            </a:extLst>
          </p:cNvPr>
          <p:cNvSpPr txBox="1"/>
          <p:nvPr userDrawn="1"/>
        </p:nvSpPr>
        <p:spPr>
          <a:xfrm>
            <a:off x="6383809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3">
                        <a:lumMod val="75000"/>
                      </a:schemeClr>
                    </a:gs>
                    <a:gs pos="100000">
                      <a:schemeClr val="accent3"/>
                    </a:gs>
                  </a:gsLst>
                  <a:lin ang="2700000" scaled="1"/>
                  <a:tileRect/>
                </a:gradFill>
              </a:rPr>
              <a:t>03</a:t>
            </a:r>
            <a:endParaRPr lang="en-GB" sz="14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3026537-8E5F-DCB2-BB41-6687AB7F5D7D}"/>
              </a:ext>
            </a:extLst>
          </p:cNvPr>
          <p:cNvSpPr txBox="1"/>
          <p:nvPr userDrawn="1"/>
        </p:nvSpPr>
        <p:spPr>
          <a:xfrm>
            <a:off x="9230991" y="1887039"/>
            <a:ext cx="2252192" cy="41857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4">
                        <a:lumMod val="75000"/>
                      </a:schemeClr>
                    </a:gs>
                    <a:gs pos="100000">
                      <a:schemeClr val="accent4"/>
                    </a:gs>
                  </a:gsLst>
                  <a:lin ang="2700000" scaled="1"/>
                  <a:tileRect/>
                </a:gradFill>
              </a:rPr>
              <a:t>04</a:t>
            </a:r>
            <a:endParaRPr lang="en-GB" sz="140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9791E2A-1288-14A5-C539-7BA95C9D6776}"/>
              </a:ext>
            </a:extLst>
          </p:cNvPr>
          <p:cNvSpPr txBox="1"/>
          <p:nvPr userDrawn="1"/>
        </p:nvSpPr>
        <p:spPr>
          <a:xfrm>
            <a:off x="689448" y="5468623"/>
            <a:ext cx="548510" cy="418576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</a:pPr>
            <a:r>
              <a:rPr lang="en-GB" sz="3200" b="1">
                <a:gradFill flip="none" rotWithShape="1">
                  <a:gsLst>
                    <a:gs pos="0">
                      <a:schemeClr val="accent6">
                        <a:lumMod val="75000"/>
                      </a:schemeClr>
                    </a:gs>
                    <a:gs pos="100000">
                      <a:schemeClr val="accent6"/>
                    </a:gs>
                  </a:gsLst>
                  <a:lin ang="2700000" scaled="1"/>
                  <a:tileRect/>
                </a:gradFill>
              </a:rPr>
              <a:t>05</a:t>
            </a:r>
            <a:endParaRPr lang="en-GB" sz="1600">
              <a:gradFill flip="none" rotWithShape="1">
                <a:gsLst>
                  <a:gs pos="0">
                    <a:schemeClr val="accent6">
                      <a:lumMod val="75000"/>
                    </a:schemeClr>
                  </a:gs>
                  <a:gs pos="100000">
                    <a:schemeClr val="accent6"/>
                  </a:gs>
                </a:gsLst>
                <a:lin ang="2700000" scaled="1"/>
                <a:tileRect/>
              </a:gra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94EB24-F23A-C30D-2687-A816FFBD58DA}"/>
              </a:ext>
            </a:extLst>
          </p:cNvPr>
          <p:cNvCxnSpPr>
            <a:cxnSpLocks/>
          </p:cNvCxnSpPr>
          <p:nvPr userDrawn="1"/>
        </p:nvCxnSpPr>
        <p:spPr>
          <a:xfrm>
            <a:off x="689447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93FDB9D7-1619-5CF8-D26E-C466A04FB156}"/>
              </a:ext>
            </a:extLst>
          </p:cNvPr>
          <p:cNvCxnSpPr>
            <a:cxnSpLocks/>
          </p:cNvCxnSpPr>
          <p:nvPr userDrawn="1"/>
        </p:nvCxnSpPr>
        <p:spPr>
          <a:xfrm>
            <a:off x="3536629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D935634-36B0-4E14-A7DA-6D1F5DE50E27}"/>
              </a:ext>
            </a:extLst>
          </p:cNvPr>
          <p:cNvCxnSpPr>
            <a:cxnSpLocks/>
          </p:cNvCxnSpPr>
          <p:nvPr userDrawn="1"/>
        </p:nvCxnSpPr>
        <p:spPr>
          <a:xfrm>
            <a:off x="6383809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BF0CB5D-45A6-5EC7-42A4-9C0CC88B91AE}"/>
              </a:ext>
            </a:extLst>
          </p:cNvPr>
          <p:cNvCxnSpPr>
            <a:cxnSpLocks/>
          </p:cNvCxnSpPr>
          <p:nvPr userDrawn="1"/>
        </p:nvCxnSpPr>
        <p:spPr>
          <a:xfrm>
            <a:off x="9230991" y="2429934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BC2C4A3-5DF2-DB07-FF82-09ACF96C9289}"/>
              </a:ext>
            </a:extLst>
          </p:cNvPr>
          <p:cNvCxnSpPr>
            <a:cxnSpLocks/>
          </p:cNvCxnSpPr>
          <p:nvPr userDrawn="1"/>
        </p:nvCxnSpPr>
        <p:spPr>
          <a:xfrm rot="5400000">
            <a:off x="1204096" y="5677911"/>
            <a:ext cx="467408" cy="0"/>
          </a:xfrm>
          <a:prstGeom prst="line">
            <a:avLst/>
          </a:prstGeom>
          <a:ln w="1905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AE4BA882-04B3-C30A-779A-43DF44274581}"/>
              </a:ext>
            </a:extLst>
          </p:cNvPr>
          <p:cNvSpPr/>
          <p:nvPr userDrawn="1"/>
        </p:nvSpPr>
        <p:spPr>
          <a:xfrm>
            <a:off x="515938" y="5062888"/>
            <a:ext cx="11160123" cy="163596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alpha val="95000"/>
                </a:schemeClr>
              </a:gs>
              <a:gs pos="100000">
                <a:schemeClr val="accent6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6" name="Freeform: Shape 77">
            <a:extLst>
              <a:ext uri="{FF2B5EF4-FFF2-40B4-BE49-F238E27FC236}">
                <a16:creationId xmlns:a16="http://schemas.microsoft.com/office/drawing/2014/main" id="{7C48BAC6-6009-82E9-7855-A699E4F546FA}"/>
              </a:ext>
            </a:extLst>
          </p:cNvPr>
          <p:cNvSpPr/>
          <p:nvPr userDrawn="1"/>
        </p:nvSpPr>
        <p:spPr>
          <a:xfrm>
            <a:off x="515937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95000"/>
                </a:schemeClr>
              </a:gs>
              <a:gs pos="100000">
                <a:schemeClr val="accent1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7" name="Freeform: Shape 78">
            <a:extLst>
              <a:ext uri="{FF2B5EF4-FFF2-40B4-BE49-F238E27FC236}">
                <a16:creationId xmlns:a16="http://schemas.microsoft.com/office/drawing/2014/main" id="{9768B4BA-8307-5B85-02E5-E401B7865B61}"/>
              </a:ext>
            </a:extLst>
          </p:cNvPr>
          <p:cNvSpPr/>
          <p:nvPr userDrawn="1"/>
        </p:nvSpPr>
        <p:spPr>
          <a:xfrm>
            <a:off x="3363120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75000"/>
                  <a:alpha val="95000"/>
                </a:schemeClr>
              </a:gs>
              <a:gs pos="100000">
                <a:schemeClr val="accent2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>
              <a:gradFill>
                <a:gsLst>
                  <a:gs pos="0">
                    <a:schemeClr val="accent2">
                      <a:lumMod val="75000"/>
                      <a:alpha val="95000"/>
                    </a:schemeClr>
                  </a:gs>
                  <a:gs pos="100000">
                    <a:schemeClr val="accent2">
                      <a:alpha val="60000"/>
                    </a:schemeClr>
                  </a:gs>
                </a:gsLst>
                <a:lin ang="0" scaled="1"/>
              </a:gradFill>
            </a:endParaRPr>
          </a:p>
        </p:txBody>
      </p:sp>
      <p:sp>
        <p:nvSpPr>
          <p:cNvPr id="28" name="Freeform: Shape 79">
            <a:extLst>
              <a:ext uri="{FF2B5EF4-FFF2-40B4-BE49-F238E27FC236}">
                <a16:creationId xmlns:a16="http://schemas.microsoft.com/office/drawing/2014/main" id="{E0C4FEB7-241F-0FE9-D785-871743B35352}"/>
              </a:ext>
            </a:extLst>
          </p:cNvPr>
          <p:cNvSpPr/>
          <p:nvPr userDrawn="1"/>
        </p:nvSpPr>
        <p:spPr>
          <a:xfrm>
            <a:off x="6210301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75000"/>
                  <a:alpha val="95000"/>
                </a:schemeClr>
              </a:gs>
              <a:gs pos="100000">
                <a:schemeClr val="accent3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9" name="Freeform: Shape 80">
            <a:extLst>
              <a:ext uri="{FF2B5EF4-FFF2-40B4-BE49-F238E27FC236}">
                <a16:creationId xmlns:a16="http://schemas.microsoft.com/office/drawing/2014/main" id="{6C322C92-FF9D-22AB-DC99-692EB7067655}"/>
              </a:ext>
            </a:extLst>
          </p:cNvPr>
          <p:cNvSpPr/>
          <p:nvPr userDrawn="1"/>
        </p:nvSpPr>
        <p:spPr>
          <a:xfrm>
            <a:off x="9057482" y="1520826"/>
            <a:ext cx="2618581" cy="163596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75000"/>
                  <a:alpha val="95000"/>
                </a:schemeClr>
              </a:gs>
              <a:gs pos="100000">
                <a:schemeClr val="accent4">
                  <a:alpha val="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C76AC4-05D0-76A6-4DCF-1B1D163F7F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EE8D924-9617-C8A1-F8A1-64F8037D417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88975" y="2665478"/>
            <a:ext cx="2252193" cy="1986238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7E0031B5-45C9-A237-03B0-C1C4023E0BC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36628" y="2665478"/>
            <a:ext cx="2252193" cy="1986238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F218B7E1-A35F-19DE-C039-023B9744D13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83808" y="2665478"/>
            <a:ext cx="2252193" cy="1986238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A84332A8-8AC9-2708-B2ED-08724DC5843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30990" y="2665478"/>
            <a:ext cx="2252193" cy="1986238"/>
          </a:xfrm>
        </p:spPr>
        <p:txBody>
          <a:bodyPr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30">
            <a:extLst>
              <a:ext uri="{FF2B5EF4-FFF2-40B4-BE49-F238E27FC236}">
                <a16:creationId xmlns:a16="http://schemas.microsoft.com/office/drawing/2014/main" id="{6F5FA2A8-6D42-B92C-51C9-C86B7700F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08461" y="5444207"/>
            <a:ext cx="9794085" cy="465925"/>
          </a:xfrm>
        </p:spPr>
        <p:txBody>
          <a:bodyPr anchor="ctr">
            <a:noAutofit/>
          </a:bodyPr>
          <a:lstStyle>
            <a:lvl1pPr>
              <a:defRPr sz="1400" b="0" cap="none" baseline="0">
                <a:solidFill>
                  <a:schemeClr val="tx1"/>
                </a:solidFill>
              </a:defRPr>
            </a:lvl1pPr>
            <a:lvl2pPr marL="171450" indent="-171450">
              <a:buFont typeface="Arial Narrow" panose="020B0606020202030204" pitchFamily="34" charset="0"/>
              <a:buChar char="−"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8" name="Footer Placeholder 4">
            <a:extLst>
              <a:ext uri="{FF2B5EF4-FFF2-40B4-BE49-F238E27FC236}">
                <a16:creationId xmlns:a16="http://schemas.microsoft.com/office/drawing/2014/main" id="{9622B287-CB68-FB10-0E83-323DA8929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67994849-52D2-F2F7-4CBE-E8D7287265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58B6A9DD-79BB-D807-5AD7-C38C7AFA880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654566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bridge over a river with a city in the background&#10;&#10;Description automatically generated">
            <a:extLst>
              <a:ext uri="{FF2B5EF4-FFF2-40B4-BE49-F238E27FC236}">
                <a16:creationId xmlns:a16="http://schemas.microsoft.com/office/drawing/2014/main" id="{94F85D3F-CBDC-8487-36D8-7D1011B4977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66EE0E74-38C6-CED3-F990-23B830459C8C}"/>
              </a:ext>
            </a:extLst>
          </p:cNvPr>
          <p:cNvSpPr/>
          <p:nvPr userDrawn="1"/>
        </p:nvSpPr>
        <p:spPr>
          <a:xfrm>
            <a:off x="0" y="0"/>
            <a:ext cx="12192000" cy="3428999"/>
          </a:xfrm>
          <a:prstGeom prst="rect">
            <a:avLst/>
          </a:prstGeom>
          <a:gradFill>
            <a:gsLst>
              <a:gs pos="0">
                <a:schemeClr val="bg1">
                  <a:alpha val="79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AC8B0B-4863-C036-1BCF-1F8429F1CF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7449" y="309565"/>
            <a:ext cx="10006618" cy="1349902"/>
          </a:xfr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kern="1200" cap="all" baseline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>
                        <a:lumMod val="75000"/>
                      </a:schemeClr>
                    </a:gs>
                  </a:gsLst>
                  <a:lin ang="2700000" scaled="1"/>
                  <a:tileRect/>
                </a:gradFill>
                <a:effectLst>
                  <a:outerShdw blurRad="431800" algn="ctr" rotWithShape="0">
                    <a:schemeClr val="bg1">
                      <a:alpha val="20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CE5036-C9C9-E734-F52D-F195DF06F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7450" y="1659468"/>
            <a:ext cx="5578550" cy="1497389"/>
          </a:xfrm>
        </p:spPr>
        <p:txBody>
          <a:bodyPr>
            <a:noAutofit/>
          </a:bodyPr>
          <a:lstStyle>
            <a:lvl1pPr marL="0" indent="0" algn="l">
              <a:buNone/>
              <a:defRPr sz="2400" b="0" cap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EB36BF2-8823-2422-859C-F02FE9D747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3432049"/>
            <a:ext cx="12192000" cy="3425952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67DAF544-DF39-4481-C335-71916C6645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884910" y="6022838"/>
            <a:ext cx="1789641" cy="46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0309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DD17889D-10A5-0B90-9AE3-95B24B424F9C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168716" y="1628677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3A1F0E-0F1F-C12D-A8F4-8EA15BB383C4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6C7514-E68C-300B-2884-06C38B346EA8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5C0BD3-2E8D-481C-E0C0-A205A495BCB1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822D08-B3F3-22EF-E5BD-19B9487889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  <p:sp>
        <p:nvSpPr>
          <p:cNvPr id="4" name="Text Placeholder 30">
            <a:extLst>
              <a:ext uri="{FF2B5EF4-FFF2-40B4-BE49-F238E27FC236}">
                <a16:creationId xmlns:a16="http://schemas.microsoft.com/office/drawing/2014/main" id="{BCB1C8BA-BE7C-5E7E-1ADC-CDB07F57DD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9" y="304807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6DBD2A37-7AC6-E43D-CBA6-0B3B94C51D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69891" y="304807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58987218-8397-61DD-2422-BA535C9B657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223843" y="304807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30">
            <a:extLst>
              <a:ext uri="{FF2B5EF4-FFF2-40B4-BE49-F238E27FC236}">
                <a16:creationId xmlns:a16="http://schemas.microsoft.com/office/drawing/2014/main" id="{58558FB7-5A29-C61A-9F02-A26DF4AA7A3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077794" y="304807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0" name="Text Placeholder 30">
            <a:extLst>
              <a:ext uri="{FF2B5EF4-FFF2-40B4-BE49-F238E27FC236}">
                <a16:creationId xmlns:a16="http://schemas.microsoft.com/office/drawing/2014/main" id="{5B72F446-8C3D-EF6E-443A-04A39629E5D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5939" y="548222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3" name="Text Placeholder 30">
            <a:extLst>
              <a:ext uri="{FF2B5EF4-FFF2-40B4-BE49-F238E27FC236}">
                <a16:creationId xmlns:a16="http://schemas.microsoft.com/office/drawing/2014/main" id="{E8FC7964-2DA0-51A3-6F38-7888F159A3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369891" y="548222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6" name="Text Placeholder 30">
            <a:extLst>
              <a:ext uri="{FF2B5EF4-FFF2-40B4-BE49-F238E27FC236}">
                <a16:creationId xmlns:a16="http://schemas.microsoft.com/office/drawing/2014/main" id="{2723591C-214A-2683-873F-97FA9992A56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223843" y="548222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9" name="Text Placeholder 30">
            <a:extLst>
              <a:ext uri="{FF2B5EF4-FFF2-40B4-BE49-F238E27FC236}">
                <a16:creationId xmlns:a16="http://schemas.microsoft.com/office/drawing/2014/main" id="{82028CD3-BA6D-77B5-7A00-6FCB48FE9E3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77794" y="5482222"/>
            <a:ext cx="2598266" cy="647116"/>
          </a:xfrm>
        </p:spPr>
        <p:txBody>
          <a:bodyPr>
            <a:noAutofit/>
          </a:bodyPr>
          <a:lstStyle>
            <a:lvl1pPr algn="ctr">
              <a:defRPr sz="1400" b="1" cap="none" baseline="0">
                <a:solidFill>
                  <a:schemeClr val="tx1"/>
                </a:solidFill>
              </a:defRPr>
            </a:lvl1pPr>
            <a:lvl2pPr marL="0" indent="0" algn="ctr">
              <a:buFont typeface="Arial Narrow" panose="020B0606020202030204" pitchFamily="34" charset="0"/>
              <a:buNone/>
              <a:defRPr sz="1200" cap="none" baseline="0"/>
            </a:lvl2pPr>
            <a:lvl3pPr marL="360363" indent="-177800">
              <a:buFont typeface="Arial" panose="020B0604020202020204" pitchFamily="34" charset="0"/>
              <a:buChar char="•"/>
              <a:defRPr sz="1200"/>
            </a:lvl3pPr>
            <a:lvl4pPr marL="539750" indent="-182563">
              <a:buFont typeface="Arial Narrow" panose="020B0606020202030204" pitchFamily="34" charset="0"/>
              <a:buChar char="−"/>
              <a:defRPr sz="110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8" name="Picture Placeholder 57">
            <a:extLst>
              <a:ext uri="{FF2B5EF4-FFF2-40B4-BE49-F238E27FC236}">
                <a16:creationId xmlns:a16="http://schemas.microsoft.com/office/drawing/2014/main" id="{B3A5F3C2-0134-859C-54EC-D89BDF7F280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022667" y="1628677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59" name="Picture Placeholder 58">
            <a:extLst>
              <a:ext uri="{FF2B5EF4-FFF2-40B4-BE49-F238E27FC236}">
                <a16:creationId xmlns:a16="http://schemas.microsoft.com/office/drawing/2014/main" id="{A203D7DA-DEE1-6395-9EAF-70F8D102CDB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876619" y="1628677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3D571B3B-9996-C854-D569-AED74A164CD6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730570" y="1628677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C8E16A53-20F1-97D0-CBA9-652EE9172F5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1168716" y="4062826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62" name="Picture Placeholder 61">
            <a:extLst>
              <a:ext uri="{FF2B5EF4-FFF2-40B4-BE49-F238E27FC236}">
                <a16:creationId xmlns:a16="http://schemas.microsoft.com/office/drawing/2014/main" id="{3B5624EC-D3F0-E1D5-FDEC-450AEA499B9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022667" y="4062826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63" name="Picture Placeholder 62">
            <a:extLst>
              <a:ext uri="{FF2B5EF4-FFF2-40B4-BE49-F238E27FC236}">
                <a16:creationId xmlns:a16="http://schemas.microsoft.com/office/drawing/2014/main" id="{DDB5C7A9-6609-C3DC-07FF-3DC9B55D0410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876619" y="4062826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64" name="Picture Placeholder 63">
            <a:extLst>
              <a:ext uri="{FF2B5EF4-FFF2-40B4-BE49-F238E27FC236}">
                <a16:creationId xmlns:a16="http://schemas.microsoft.com/office/drawing/2014/main" id="{0E2FF37D-542B-1AA5-A67A-F6AD4E04D7BA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9730570" y="4062826"/>
            <a:ext cx="1292714" cy="1292714"/>
          </a:xfrm>
          <a:custGeom>
            <a:avLst/>
            <a:gdLst>
              <a:gd name="connsiteX0" fmla="*/ 646357 w 1292714"/>
              <a:gd name="connsiteY0" fmla="*/ 0 h 1292714"/>
              <a:gd name="connsiteX1" fmla="*/ 1292714 w 1292714"/>
              <a:gd name="connsiteY1" fmla="*/ 646357 h 1292714"/>
              <a:gd name="connsiteX2" fmla="*/ 646357 w 1292714"/>
              <a:gd name="connsiteY2" fmla="*/ 1292714 h 1292714"/>
              <a:gd name="connsiteX3" fmla="*/ 0 w 1292714"/>
              <a:gd name="connsiteY3" fmla="*/ 646357 h 1292714"/>
              <a:gd name="connsiteX4" fmla="*/ 646357 w 1292714"/>
              <a:gd name="connsiteY4" fmla="*/ 0 h 12927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92714" h="1292714">
                <a:moveTo>
                  <a:pt x="646357" y="0"/>
                </a:moveTo>
                <a:cubicBezTo>
                  <a:pt x="1003330" y="0"/>
                  <a:pt x="1292714" y="289384"/>
                  <a:pt x="1292714" y="646357"/>
                </a:cubicBezTo>
                <a:cubicBezTo>
                  <a:pt x="1292714" y="1003330"/>
                  <a:pt x="1003330" y="1292714"/>
                  <a:pt x="646357" y="1292714"/>
                </a:cubicBezTo>
                <a:cubicBezTo>
                  <a:pt x="289384" y="1292714"/>
                  <a:pt x="0" y="1003330"/>
                  <a:pt x="0" y="646357"/>
                </a:cubicBezTo>
                <a:cubicBezTo>
                  <a:pt x="0" y="289384"/>
                  <a:pt x="289384" y="0"/>
                  <a:pt x="646357" y="0"/>
                </a:cubicBez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anchor="ctr">
            <a:noAutofit/>
          </a:bodyPr>
          <a:lstStyle>
            <a:lvl1pPr algn="ctr">
              <a:defRPr sz="1400"/>
            </a:lvl1pPr>
          </a:lstStyle>
          <a:p>
            <a:endParaRPr lang="en-GB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2E7604E-C603-0FF2-5937-B80C8CA1C4FB}"/>
              </a:ext>
            </a:extLst>
          </p:cNvPr>
          <p:cNvSpPr/>
          <p:nvPr userDrawn="1"/>
        </p:nvSpPr>
        <p:spPr>
          <a:xfrm>
            <a:off x="0" y="6864662"/>
            <a:ext cx="12192000" cy="6124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l">
              <a:lnSpc>
                <a:spcPct val="90000"/>
              </a:lnSpc>
              <a:spcAft>
                <a:spcPts val="200"/>
              </a:spcAft>
            </a:pPr>
            <a:r>
              <a:rPr lang="en-GB" sz="800" b="1">
                <a:solidFill>
                  <a:schemeClr val="bg1"/>
                </a:solidFill>
              </a:rPr>
              <a:t>To add/change the pictures: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Click on the image and press BACKSPACE or DELETE on the keyboard &gt; Click on the icon at the centre of the placeholder &gt; Select the chosen image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To adjust the crop, right-click on the image &gt; Crop</a:t>
            </a:r>
          </a:p>
          <a:p>
            <a:pPr marL="171450" marR="0" lvl="0" indent="-171450" algn="l" defTabSz="142728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If for any reason the image placeholder loses the rounded shape, click on Reset button in the Home tab at the top. </a:t>
            </a:r>
          </a:p>
        </p:txBody>
      </p:sp>
    </p:spTree>
    <p:extLst>
      <p:ext uri="{BB962C8B-B14F-4D97-AF65-F5344CB8AC3E}">
        <p14:creationId xmlns:p14="http://schemas.microsoft.com/office/powerpoint/2010/main" val="1761671800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A1F0E-0F1F-C12D-A8F4-8EA15BB383C4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6C7514-E68C-300B-2884-06C38B346EA8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5C0BD3-2E8D-481C-E0C0-A205A495BCB1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822D08-B3F3-22EF-E5BD-19B9487889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747731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No Watermark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A1F0E-0F1F-C12D-A8F4-8EA15BB383C4}"/>
              </a:ext>
            </a:extLst>
          </p:cNvPr>
          <p:cNvSpPr>
            <a:spLocks noGrp="1"/>
          </p:cNvSpPr>
          <p:nvPr userDrawn="1"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6C7514-E68C-300B-2884-06C38B346EA8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5C0BD3-2E8D-481C-E0C0-A205A495BCB1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93822D08-B3F3-22EF-E5BD-19B9487889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30383147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F73505A-A298-23B5-489A-0621FA30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938" y="6243246"/>
            <a:ext cx="4114800" cy="269974"/>
          </a:xfrm>
        </p:spPr>
        <p:txBody>
          <a:bodyPr>
            <a:noAutofit/>
          </a:bodyPr>
          <a:lstStyle/>
          <a:p>
            <a:r>
              <a:rPr lang="en-GB"/>
              <a:t>TITAN Cement Group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7C53DAD-FEA4-2107-3DEF-9C5725E59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/>
          <a:p>
            <a:fld id="{D631C82E-7B5F-4FD3-882E-C1FF210412AE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15">
            <a:extLst>
              <a:ext uri="{FF2B5EF4-FFF2-40B4-BE49-F238E27FC236}">
                <a16:creationId xmlns:a16="http://schemas.microsoft.com/office/drawing/2014/main" id="{E8ECCA92-5199-217E-9C3F-10D3086BA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6001" y="6243246"/>
            <a:ext cx="4914900" cy="269974"/>
          </a:xfrm>
        </p:spPr>
        <p:txBody>
          <a:bodyPr anchor="b">
            <a:noAutofit/>
          </a:bodyPr>
          <a:lstStyle>
            <a:lvl1pPr>
              <a:spcBef>
                <a:spcPts val="0"/>
              </a:spcBef>
              <a:defRPr sz="700" b="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* Add footnot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8490596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725C9A3-3496-FA43-9C12-CFC5001BE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835520"/>
            <a:ext cx="10459245" cy="60507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>
                <a:solidFill>
                  <a:srgbClr val="1C32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1465D3C-5D06-9B4A-9C81-CD8B57D638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3440591"/>
            <a:ext cx="6964363" cy="564998"/>
          </a:xfr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5" name="Picture 4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3DDFD8C6-759C-36F7-72A6-E10D785755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61882" y="267575"/>
            <a:ext cx="2404255" cy="993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1575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789B4F9E-300A-5C43-BCAA-37C8F064B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BD3E29E-DB5C-BC47-9F47-495E14F1A5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4609509-30F5-5141-A2FC-C3B282C25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4D7BEA8-0A47-EE4C-8CD3-70F0DF13B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393339907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2F29B2-DDBE-A748-BA49-C5C74A92A2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9998" y="1699908"/>
            <a:ext cx="11222577" cy="4464050"/>
          </a:xfrm>
        </p:spPr>
        <p:txBody>
          <a:bodyPr>
            <a:noAutofit/>
          </a:bodyPr>
          <a:lstStyle>
            <a:lvl1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 marL="533400" indent="-214313">
              <a:buClr>
                <a:schemeClr val="tx2"/>
              </a:buClr>
              <a:buFont typeface="Courier New" panose="02070309020205020404" pitchFamily="49" charset="0"/>
              <a:buChar char="o"/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9B4F9E-300A-5C43-BCAA-37C8F064B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BD3E29E-DB5C-BC47-9F47-495E14F1A5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4609509-30F5-5141-A2FC-C3B282C25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4D7BEA8-0A47-EE4C-8CD3-70F0DF13B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2999449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F625FCE-E81D-2F43-96A6-F0B3544020B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79425" y="1685458"/>
            <a:ext cx="5504276" cy="4443880"/>
          </a:xfrm>
        </p:spPr>
        <p:txBody>
          <a:bodyPr>
            <a:noAutofit/>
          </a:bodyPr>
          <a:lstStyle>
            <a:lvl1pPr marL="228600" indent="-228600">
              <a:buClr>
                <a:schemeClr val="tx2"/>
              </a:buClr>
              <a:buFont typeface="Arial" panose="020B0604020202020204" pitchFamily="34" charset="0"/>
              <a:buChar char="•"/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7AB2981-CDB2-D54F-A492-019420F2ACA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08299" y="1685458"/>
            <a:ext cx="5504276" cy="4443880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98AD298-C58E-844B-A5DE-249EF3776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1FC86C0-487B-354B-AE8E-C589B63B39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67819F5-AD14-7141-B703-A016864DA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6F8B09E-DCE8-AC47-B3FF-02B0579C8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0928027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F625FCE-E81D-2F43-96A6-F0B3544020B5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79425" y="1685457"/>
            <a:ext cx="5504276" cy="2170926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7AB2981-CDB2-D54F-A492-019420F2ACA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08299" y="1685457"/>
            <a:ext cx="5504276" cy="2170925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35F6FB0-4C04-4642-870A-A73D4766FABE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89999" y="4016819"/>
            <a:ext cx="5504276" cy="2170926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6948931-9697-394C-8207-02805F484999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218873" y="4016819"/>
            <a:ext cx="5504276" cy="2170925"/>
          </a:xfrm>
        </p:spPr>
        <p:txBody>
          <a:bodyPr>
            <a:noAutofit/>
          </a:bodyPr>
          <a:lstStyle>
            <a:lvl1pPr marL="228600" indent="-228600">
              <a:buFont typeface="Arial" panose="020B0604020202020204" pitchFamily="34" charset="0"/>
              <a:buChar char="•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FE2174-599E-3341-B1C8-4A02DF282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8FC8044-3ADC-824B-A09B-688E24544B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F692AC5-B907-C94E-ABA3-38477399D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BC3DDA4-7F58-2743-9BFA-EB9675785B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41765893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One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B5B6782A-4618-9D4A-93E0-1FC9575CACAB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0000" y="1688845"/>
            <a:ext cx="11222575" cy="40432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A2D9DF92-63DD-C54B-82BA-D93135B6ED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9999" y="5737703"/>
            <a:ext cx="11233149" cy="392463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27A0478-5BDF-1740-A256-D90D7DC7F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78BCEB-D864-B44C-96D1-ED73AF298F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C572CA3-5E86-864C-8B7E-0CEB12C714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D1FCCCB-C27A-F943-8FE5-95E285386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3448724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person walking down a staircase&#10;&#10;Description automatically generated">
            <a:extLst>
              <a:ext uri="{FF2B5EF4-FFF2-40B4-BE49-F238E27FC236}">
                <a16:creationId xmlns:a16="http://schemas.microsoft.com/office/drawing/2014/main" id="{F7C7012F-8808-3A96-3D46-771AF7302DE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l="6507" r="12397"/>
          <a:stretch>
            <a:fillRect/>
          </a:stretch>
        </p:blipFill>
        <p:spPr>
          <a:xfrm>
            <a:off x="0" y="0"/>
            <a:ext cx="12192000" cy="6857998"/>
          </a:xfrm>
          <a:custGeom>
            <a:avLst/>
            <a:gdLst>
              <a:gd name="connsiteX0" fmla="*/ 0 w 12192000"/>
              <a:gd name="connsiteY0" fmla="*/ 0 h 6857998"/>
              <a:gd name="connsiteX1" fmla="*/ 12192000 w 12192000"/>
              <a:gd name="connsiteY1" fmla="*/ 0 h 6857998"/>
              <a:gd name="connsiteX2" fmla="*/ 12192000 w 12192000"/>
              <a:gd name="connsiteY2" fmla="*/ 6857998 h 6857998"/>
              <a:gd name="connsiteX3" fmla="*/ 0 w 12192000"/>
              <a:gd name="connsiteY3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7998">
                <a:moveTo>
                  <a:pt x="0" y="0"/>
                </a:moveTo>
                <a:lnTo>
                  <a:pt x="12192000" y="0"/>
                </a:lnTo>
                <a:lnTo>
                  <a:pt x="12192000" y="6857998"/>
                </a:lnTo>
                <a:lnTo>
                  <a:pt x="0" y="6857998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B36BF2-8823-2422-859C-F02FE9D747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4971143"/>
            <a:ext cx="12192000" cy="1886857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B23F72D-3A85-1445-1C53-34C5FA9A3215}"/>
              </a:ext>
            </a:extLst>
          </p:cNvPr>
          <p:cNvSpPr/>
          <p:nvPr userDrawn="1"/>
        </p:nvSpPr>
        <p:spPr>
          <a:xfrm rot="16200000">
            <a:off x="1562100" y="-1562100"/>
            <a:ext cx="6858000" cy="9982200"/>
          </a:xfrm>
          <a:prstGeom prst="rect">
            <a:avLst/>
          </a:prstGeom>
          <a:gradFill>
            <a:gsLst>
              <a:gs pos="0">
                <a:schemeClr val="bg1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7DAF544-DF39-4481-C335-71916C6645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884910" y="6022838"/>
            <a:ext cx="1789641" cy="46686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6DCD9059-20E1-E095-CF95-F033EB225D61}"/>
              </a:ext>
            </a:extLst>
          </p:cNvPr>
          <p:cNvSpPr/>
          <p:nvPr userDrawn="1"/>
        </p:nvSpPr>
        <p:spPr>
          <a:xfrm>
            <a:off x="0" y="0"/>
            <a:ext cx="12192000" cy="3156857"/>
          </a:xfrm>
          <a:prstGeom prst="rect">
            <a:avLst/>
          </a:prstGeom>
          <a:gradFill>
            <a:gsLst>
              <a:gs pos="0">
                <a:schemeClr val="bg1">
                  <a:alpha val="58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AC8B0B-4863-C036-1BCF-1F8429F1CF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7448" y="309565"/>
            <a:ext cx="8459637" cy="1349902"/>
          </a:xfr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kern="1200" cap="all" baseline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>
                        <a:lumMod val="75000"/>
                      </a:schemeClr>
                    </a:gs>
                  </a:gsLst>
                  <a:lin ang="2700000" scaled="1"/>
                  <a:tileRect/>
                </a:gradFill>
                <a:effectLst>
                  <a:outerShdw blurRad="431800" algn="ctr" rotWithShape="0">
                    <a:schemeClr val="bg1"/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CE5036-C9C9-E734-F52D-F195DF06F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7450" y="1659468"/>
            <a:ext cx="5578550" cy="1497389"/>
          </a:xfrm>
        </p:spPr>
        <p:txBody>
          <a:bodyPr>
            <a:noAutofit/>
          </a:bodyPr>
          <a:lstStyle>
            <a:lvl1pPr marL="0" indent="0" algn="l">
              <a:buNone/>
              <a:defRPr sz="2400" b="0" cap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2901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Two Picture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B5B6782A-4618-9D4A-93E0-1FC9575CACAB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0000" y="1688845"/>
            <a:ext cx="5499983" cy="40432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A2D9DF92-63DD-C54B-82BA-D93135B6ED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0000" y="5737703"/>
            <a:ext cx="5499984" cy="392463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7803A147-0526-7B45-AAA1-8011E1482819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202016" y="1699384"/>
            <a:ext cx="5499983" cy="4043292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1391621C-9642-244C-B4A5-1E22EACCD22C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202016" y="5748242"/>
            <a:ext cx="5499984" cy="392463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1313D50-CC5F-0E43-A383-4E7AB64CB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86BE0D-8562-4D4F-89CC-710CD907EE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EE7A4F8-E87B-3A4A-946C-D410A94881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7228375-D405-A947-B8B9-9B7549040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66549225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Eight Picture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A4CF2F5-C3D8-1B46-974A-00541F12F97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05598" y="1681092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B42742C-91EC-B348-86E3-DD73CEC458E7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369659" y="1681092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F85D7B9-F08A-C84E-AE7D-B8C6492A3258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33720" y="1681092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FBFA9E6C-2433-7C41-A58C-BFF33333273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097780" y="1681092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3C426E82-D8B2-1C46-BA76-2DB568A1619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05599" y="3361667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4FEE890-3FBD-3F41-B35A-B7F68EC9BDD5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3369659" y="3355042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EB6C4FFB-FF4D-D745-8267-80B58F242D1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6238785" y="3356281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4446274-97D8-2B49-9914-911204AB5FE7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9102845" y="3349656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607F8F-DDD3-8C4B-8E43-7362A4759C7F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489999" y="3982897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846DEA59-E37C-1A44-9EEA-131BC1097463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3354060" y="3982897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46FCCA8-CE02-DE42-B008-1C1802270F73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6218121" y="3982897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9082EA9A-A4D9-1048-8841-A1063510E0FD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9082181" y="3982897"/>
            <a:ext cx="2609730" cy="164520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7842987-30C5-034C-9F7A-22CAB8B61599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490000" y="5663472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D6D35E5-BA06-9B47-ABA0-A788284D9B94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3354060" y="5656847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03ED604-5328-A941-ADE6-6256559E777B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23186" y="5658086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415AA46-17C9-FB44-A1C2-9FADE2AE8574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087246" y="5651461"/>
            <a:ext cx="2609730" cy="454959"/>
          </a:xfr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C77EA7B7-6A62-7648-B0A9-2EC1DC60B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D4731ACE-E894-B849-83D9-7CD0EF647E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A4C4F986-C63E-D84D-B6BD-4682051939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913539AF-1BEC-664C-899A-5ACE9F9B57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24584365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One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B5B6782A-4618-9D4A-93E0-1FC9575CACAB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1407354"/>
            <a:ext cx="12192000" cy="54506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27A0478-5BDF-1740-A256-D90D7DC7F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78BCEB-D864-B44C-96D1-ED73AF298F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27643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D0BFAA6-7CF3-3A41-86C9-FA6A3C3BC786}"/>
              </a:ext>
            </a:extLst>
          </p:cNvPr>
          <p:cNvSpPr/>
          <p:nvPr/>
        </p:nvSpPr>
        <p:spPr>
          <a:xfrm rot="10800000">
            <a:off x="0" y="1027522"/>
            <a:ext cx="12192000" cy="5830476"/>
          </a:xfrm>
          <a:prstGeom prst="rect">
            <a:avLst/>
          </a:prstGeom>
          <a:solidFill>
            <a:srgbClr val="1F33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b="0" i="0">
              <a:latin typeface="Calibri" panose="020F050202020403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42E482A2-2DC6-E94F-B34D-0CC5EA3F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812338"/>
            <a:ext cx="6964363" cy="60507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CA9E28A-F601-504E-A50A-8EC48CC337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3429000"/>
            <a:ext cx="6964363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3121B50-78D5-CE49-BC69-B031E2F5B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2CD581E-3B4E-834F-9CB4-1FDAA28A6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653A623-C58D-3649-B685-EF1469D04C18}"/>
              </a:ext>
            </a:extLst>
          </p:cNvPr>
          <p:cNvSpPr/>
          <p:nvPr userDrawn="1"/>
        </p:nvSpPr>
        <p:spPr>
          <a:xfrm rot="10800000">
            <a:off x="0" y="1027522"/>
            <a:ext cx="12192000" cy="583047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b="0" i="0">
              <a:latin typeface="Calibri" panose="020F0502020204030204" pitchFamily="34" charset="0"/>
            </a:endParaRPr>
          </a:p>
        </p:txBody>
      </p:sp>
      <p:pic>
        <p:nvPicPr>
          <p:cNvPr id="2" name="Picture 1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69304557-00B1-5E12-E17B-261D53297C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92224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D0BFAA6-7CF3-3A41-86C9-FA6A3C3BC786}"/>
              </a:ext>
            </a:extLst>
          </p:cNvPr>
          <p:cNvSpPr/>
          <p:nvPr/>
        </p:nvSpPr>
        <p:spPr>
          <a:xfrm rot="10800000">
            <a:off x="0" y="1027522"/>
            <a:ext cx="12192000" cy="583047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b="0" i="0">
              <a:latin typeface="Calibri" panose="020F050202020403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3121B50-78D5-CE49-BC69-B031E2F5B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2CD581E-3B4E-834F-9CB4-1FDAA28A6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B633E748-1C50-2649-BB47-8CE3655EE3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812338"/>
            <a:ext cx="6964363" cy="60507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E01415E9-2A73-8B43-BE23-B721276EE4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3429000"/>
            <a:ext cx="6964363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5D75847E-6D6D-034A-113D-D34E713C9C2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81676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D0BFAA6-7CF3-3A41-86C9-FA6A3C3BC786}"/>
              </a:ext>
            </a:extLst>
          </p:cNvPr>
          <p:cNvSpPr/>
          <p:nvPr/>
        </p:nvSpPr>
        <p:spPr>
          <a:xfrm rot="10800000">
            <a:off x="0" y="1027522"/>
            <a:ext cx="12192000" cy="58304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b="0" i="0">
              <a:latin typeface="Calibri" panose="020F050202020403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3121B50-78D5-CE49-BC69-B031E2F5B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2CD581E-3B4E-834F-9CB4-1FDAA28A6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87F048A-B768-BB4A-A3CC-72758FE41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812338"/>
            <a:ext cx="6964363" cy="60507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966E9D3-E02A-CE47-8EDD-72AA52923C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3429000"/>
            <a:ext cx="6964363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0E07C793-F830-48B3-BEBF-78AC8D0FF2A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03796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9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D0BFAA6-7CF3-3A41-86C9-FA6A3C3BC786}"/>
              </a:ext>
            </a:extLst>
          </p:cNvPr>
          <p:cNvSpPr/>
          <p:nvPr/>
        </p:nvSpPr>
        <p:spPr>
          <a:xfrm rot="10800000">
            <a:off x="0" y="1027522"/>
            <a:ext cx="12192000" cy="58304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b="0" i="0">
              <a:latin typeface="Calibri" panose="020F050202020403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3121B50-78D5-CE49-BC69-B031E2F5B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2CD581E-3B4E-834F-9CB4-1FDAA28A6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77323A-B0EF-6948-AA04-85870AC41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812338"/>
            <a:ext cx="6964363" cy="60507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4B5AA78-A914-AA44-99CD-E7AA13BD1F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3429000"/>
            <a:ext cx="6964363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" name="Picture 2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0FDF24B3-02B9-C0BE-4280-F7BA1EA0B1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18140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7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D0BFAA6-7CF3-3A41-86C9-FA6A3C3BC786}"/>
              </a:ext>
            </a:extLst>
          </p:cNvPr>
          <p:cNvSpPr/>
          <p:nvPr/>
        </p:nvSpPr>
        <p:spPr>
          <a:xfrm rot="10800000">
            <a:off x="0" y="1027522"/>
            <a:ext cx="12192000" cy="583047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9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b="0" i="0">
              <a:latin typeface="Calibri" panose="020F050202020403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3121B50-78D5-CE49-BC69-B031E2F5B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2CD581E-3B4E-834F-9CB4-1FDAA28A6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77323A-B0EF-6948-AA04-85870AC41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812338"/>
            <a:ext cx="6964363" cy="60507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4B5AA78-A914-AA44-99CD-E7AA13BD1F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3429000"/>
            <a:ext cx="6964363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" name="Picture 2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0FDF24B3-02B9-C0BE-4280-F7BA1EA0B1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043256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8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D0BFAA6-7CF3-3A41-86C9-FA6A3C3BC786}"/>
              </a:ext>
            </a:extLst>
          </p:cNvPr>
          <p:cNvSpPr/>
          <p:nvPr/>
        </p:nvSpPr>
        <p:spPr>
          <a:xfrm rot="10800000">
            <a:off x="0" y="1027522"/>
            <a:ext cx="12192000" cy="5830476"/>
          </a:xfrm>
          <a:prstGeom prst="rect">
            <a:avLst/>
          </a:prstGeom>
          <a:gradFill>
            <a:gsLst>
              <a:gs pos="52000">
                <a:srgbClr val="27348B"/>
              </a:gs>
              <a:gs pos="0">
                <a:schemeClr val="tx2"/>
              </a:gs>
              <a:gs pos="99000">
                <a:srgbClr val="64A450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R" b="0" i="0">
              <a:latin typeface="Calibri" panose="020F0502020204030204" pitchFamily="34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63121B50-78D5-CE49-BC69-B031E2F5B7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02CD581E-3B4E-834F-9CB4-1FDAA28A6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77323A-B0EF-6948-AA04-85870AC416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2812338"/>
            <a:ext cx="6964363" cy="60507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B4B5AA78-A914-AA44-99CD-E7AA13BD1FD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3429000"/>
            <a:ext cx="6964363" cy="564998"/>
          </a:xfr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3" name="Picture 2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0FDF24B3-02B9-C0BE-4280-F7BA1EA0B1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49873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9530B6A8-D728-FEB1-2580-0ADCC2FEBA5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89409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ABAA38A2-8978-EBF3-9BC0-FBD16587F3E1}"/>
              </a:ext>
            </a:extLst>
          </p:cNvPr>
          <p:cNvSpPr txBox="1"/>
          <p:nvPr userDrawn="1"/>
        </p:nvSpPr>
        <p:spPr>
          <a:xfrm>
            <a:off x="517449" y="4362451"/>
            <a:ext cx="8992219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00000"/>
              </a:lnSpc>
              <a:spcAft>
                <a:spcPts val="1200"/>
              </a:spcAft>
            </a:pPr>
            <a:r>
              <a:rPr lang="en-GB" sz="1800" b="1">
                <a:solidFill>
                  <a:schemeClr val="tx1"/>
                </a:solidFill>
              </a:rPr>
              <a:t>To change background picture:</a:t>
            </a:r>
          </a:p>
          <a:p>
            <a:pPr marL="0" indent="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1800">
                <a:solidFill>
                  <a:schemeClr val="tx1"/>
                </a:solidFill>
              </a:rPr>
              <a:t>Right-click inside or outside the canvas &gt; Format Background… &gt; </a:t>
            </a:r>
            <a:br>
              <a:rPr lang="en-GB" sz="1800">
                <a:solidFill>
                  <a:schemeClr val="tx1"/>
                </a:solidFill>
              </a:rPr>
            </a:br>
            <a:r>
              <a:rPr lang="en-GB" sz="1800">
                <a:solidFill>
                  <a:schemeClr val="tx1"/>
                </a:solidFill>
              </a:rPr>
              <a:t>Picture or texture fill &gt; Insert… </a:t>
            </a:r>
          </a:p>
          <a:p>
            <a:pPr marL="0" indent="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1800">
                <a:solidFill>
                  <a:schemeClr val="tx1"/>
                </a:solidFill>
              </a:rPr>
              <a:t>(or </a:t>
            </a:r>
            <a:r>
              <a:rPr lang="en-GB" sz="1800" b="1">
                <a:solidFill>
                  <a:schemeClr val="tx1"/>
                </a:solidFill>
              </a:rPr>
              <a:t>Clipboard</a:t>
            </a:r>
            <a:r>
              <a:rPr lang="en-GB" sz="1800">
                <a:solidFill>
                  <a:schemeClr val="tx1"/>
                </a:solidFill>
              </a:rPr>
              <a:t> if you copied the picture from another slide/presentation)</a:t>
            </a:r>
          </a:p>
          <a:p>
            <a:pPr marL="0" indent="0" algn="l">
              <a:lnSpc>
                <a:spcPct val="10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GB" sz="1800" b="1">
                <a:solidFill>
                  <a:schemeClr val="tx1"/>
                </a:solidFill>
              </a:rPr>
              <a:t>N.B. </a:t>
            </a:r>
            <a:r>
              <a:rPr lang="en-GB" sz="1800">
                <a:solidFill>
                  <a:schemeClr val="tx1"/>
                </a:solidFill>
              </a:rPr>
              <a:t>Make sure the image has the right crop and contrast so that the title can read well</a:t>
            </a:r>
          </a:p>
        </p:txBody>
      </p:sp>
      <p:pic>
        <p:nvPicPr>
          <p:cNvPr id="6" name="Picture 5" descr="A low angle view of a building&#10;&#10;Description automatically generated">
            <a:extLst>
              <a:ext uri="{FF2B5EF4-FFF2-40B4-BE49-F238E27FC236}">
                <a16:creationId xmlns:a16="http://schemas.microsoft.com/office/drawing/2014/main" id="{F29FB52E-070E-5653-4838-5EBB3054BF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 t="24" b="15754"/>
          <a:stretch>
            <a:fillRect/>
          </a:stretch>
        </p:blipFill>
        <p:spPr>
          <a:xfrm flipH="1">
            <a:off x="1" y="1947"/>
            <a:ext cx="12191998" cy="6854106"/>
          </a:xfrm>
          <a:custGeom>
            <a:avLst/>
            <a:gdLst>
              <a:gd name="connsiteX0" fmla="*/ 12191998 w 12191998"/>
              <a:gd name="connsiteY0" fmla="*/ 0 h 6854106"/>
              <a:gd name="connsiteX1" fmla="*/ 0 w 12191998"/>
              <a:gd name="connsiteY1" fmla="*/ 0 h 6854106"/>
              <a:gd name="connsiteX2" fmla="*/ 0 w 12191998"/>
              <a:gd name="connsiteY2" fmla="*/ 6854106 h 6854106"/>
              <a:gd name="connsiteX3" fmla="*/ 12191998 w 12191998"/>
              <a:gd name="connsiteY3" fmla="*/ 6854106 h 6854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8" h="6854106">
                <a:moveTo>
                  <a:pt x="12191998" y="0"/>
                </a:moveTo>
                <a:lnTo>
                  <a:pt x="0" y="0"/>
                </a:lnTo>
                <a:lnTo>
                  <a:pt x="0" y="6854106"/>
                </a:lnTo>
                <a:lnTo>
                  <a:pt x="12191998" y="6854106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EB36BF2-8823-2422-859C-F02FE9D747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4362451"/>
            <a:ext cx="12192000" cy="249555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CFFB178-D71B-ED83-F9B4-26D290B809A2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0">
                <a:schemeClr val="bg1">
                  <a:alpha val="61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AC8B0B-4863-C036-1BCF-1F8429F1CF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7450" y="309565"/>
            <a:ext cx="7912176" cy="1349902"/>
          </a:xfr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kern="1200" cap="all" baseline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>
                        <a:lumMod val="75000"/>
                      </a:schemeClr>
                    </a:gs>
                  </a:gsLst>
                  <a:lin ang="2700000" scaled="1"/>
                  <a:tileRect/>
                </a:gradFill>
                <a:effectLst>
                  <a:outerShdw blurRad="431800" algn="ctr" rotWithShape="0">
                    <a:schemeClr val="bg1">
                      <a:alpha val="84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CE5036-C9C9-E734-F52D-F195DF06F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7450" y="1659468"/>
            <a:ext cx="5578550" cy="1497389"/>
          </a:xfrm>
        </p:spPr>
        <p:txBody>
          <a:bodyPr>
            <a:noAutofit/>
          </a:bodyPr>
          <a:lstStyle>
            <a:lvl1pPr marL="0" indent="0" algn="l">
              <a:buNone/>
              <a:defRPr sz="2400" b="0" cap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7DAF544-DF39-4481-C335-71916C6645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/>
        </p:blipFill>
        <p:spPr>
          <a:xfrm>
            <a:off x="9884910" y="6022838"/>
            <a:ext cx="1789641" cy="46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1643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ection Header Bronz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26133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A725C9A3-3496-FA43-9C12-CFC5001BEC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2835520"/>
            <a:ext cx="10459245" cy="605071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3200" b="1" i="0">
                <a:solidFill>
                  <a:srgbClr val="1C32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61465D3C-5D06-9B4A-9C81-CD8B57D638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9425" y="3440591"/>
            <a:ext cx="6964363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 algn="l">
              <a:buNone/>
              <a:defRPr sz="24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pic>
        <p:nvPicPr>
          <p:cNvPr id="2" name="Picture 1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71CDAE39-F4F5-BD4A-743A-C9553A4BFC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7917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789B4F9E-300A-5C43-BCAA-37C8F064B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BD3E29E-DB5C-BC47-9F47-495E14F1A5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4609509-30F5-5141-A2FC-C3B282C25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4D7BEA8-0A47-EE4C-8CD3-70F0DF13B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9960173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E2F29B2-DDBE-A748-BA49-C5C74A92A2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9998" y="1699908"/>
            <a:ext cx="11222577" cy="44640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Clr>
                <a:schemeClr val="tx2"/>
              </a:buClr>
              <a:buNone/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buClr>
                <a:schemeClr val="accent3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marL="0" indent="0">
              <a:buNone/>
            </a:pPr>
            <a:r>
              <a:rPr lang="en-GB" sz="2400" b="1">
                <a:solidFill>
                  <a:srgbClr val="1F3367"/>
                </a:solidFill>
                <a:ea typeface="Tahoma" panose="020B0604030504040204" pitchFamily="34" charset="0"/>
              </a:rPr>
              <a:t>This is the first text level. </a:t>
            </a:r>
            <a:endParaRPr lang="el-GR" sz="2400" b="1">
              <a:solidFill>
                <a:srgbClr val="1F3367"/>
              </a:solidFill>
              <a:ea typeface="Tahoma" panose="020B0604030504040204" pitchFamily="34" charset="0"/>
            </a:endParaRPr>
          </a:p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text level style - flow text without indent. Suitable for short paragraphs between bullets This is the second text level style - flow text without indent. Suitable for short paragraphs between bullets This is the second text level style - flow text without indent. Suitable for short paragraphs between bullets</a:t>
            </a:r>
          </a:p>
          <a:p>
            <a:pPr lvl="0"/>
            <a:endParaRPr lang="en-GB"/>
          </a:p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bullets are needed:</a:t>
            </a:r>
          </a:p>
          <a:p>
            <a:pPr marL="298450" lvl="2" indent="-285750">
              <a:buClr>
                <a:schemeClr val="tx2"/>
              </a:buClr>
              <a:buSzPct val="125000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first bullet level style (Main Bullet) </a:t>
            </a:r>
          </a:p>
          <a:p>
            <a:pPr marL="11113" lvl="3" indent="266700">
              <a:buSzPct val="80000"/>
              <a:buFont typeface="Courier New" panose="02070309020205020404" pitchFamily="49" charset="0"/>
              <a:buChar char="o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bullet level style (Sub Bullet)</a:t>
            </a:r>
          </a:p>
          <a:p>
            <a:pPr marL="558800" lvl="3" indent="-285750">
              <a:buClr>
                <a:schemeClr val="accent3"/>
              </a:buClr>
              <a:buSzPct val="80000"/>
              <a:buFont typeface="Wingdings" pitchFamily="2" charset="2"/>
              <a:buChar char="§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</a:t>
            </a:r>
            <a:r>
              <a:rPr lang="en-GB">
                <a:solidFill>
                  <a:srgbClr val="1F3367"/>
                </a:solidFill>
              </a:rPr>
              <a:t>third</a:t>
            </a: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ullet level style (Sub Bullet)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789B4F9E-300A-5C43-BCAA-37C8F064B8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2BD3E29E-DB5C-BC47-9F47-495E14F1A5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4609509-30F5-5141-A2FC-C3B282C250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94D7BEA8-0A47-EE4C-8CD3-70F0DF13B2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160639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F625FCE-E81D-2F43-96A6-F0B3544020B5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479425" y="1685458"/>
            <a:ext cx="5504276" cy="444388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chemeClr val="tx2"/>
              </a:buClr>
              <a:buFont typeface="Wingdings" pitchFamily="2" charset="2"/>
              <a:buChar char="§"/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2pPr>
            <a:lvl3pPr>
              <a:buClr>
                <a:schemeClr val="accent3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3pPr>
            <a:lvl4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4pPr>
            <a:lvl5pPr>
              <a:buClr>
                <a:schemeClr val="tx2"/>
              </a:buClr>
              <a:defRPr sz="16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5pPr>
          </a:lstStyle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bullets are needed:</a:t>
            </a:r>
          </a:p>
          <a:p>
            <a:pPr marL="298450" lvl="2" indent="-285750">
              <a:buClr>
                <a:schemeClr val="tx2"/>
              </a:buClr>
              <a:buSzPct val="125000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first bullet level style (Main Bullet) </a:t>
            </a:r>
          </a:p>
          <a:p>
            <a:pPr marL="11113" lvl="3" indent="266700">
              <a:buSzPct val="80000"/>
              <a:buFont typeface="Courier New" panose="02070309020205020404" pitchFamily="49" charset="0"/>
              <a:buChar char="o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bullet level style (Sub Bullet)</a:t>
            </a:r>
          </a:p>
          <a:p>
            <a:pPr marL="558800" lvl="3" indent="-285750">
              <a:buClr>
                <a:schemeClr val="accent3"/>
              </a:buClr>
              <a:buSzPct val="80000"/>
              <a:buFont typeface="Wingdings" pitchFamily="2" charset="2"/>
              <a:buChar char="§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</a:t>
            </a:r>
            <a:r>
              <a:rPr lang="en-GB">
                <a:solidFill>
                  <a:srgbClr val="1F3367"/>
                </a:solidFill>
              </a:rPr>
              <a:t>third</a:t>
            </a: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ullet level style (Sub Bulle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7AB2981-CDB2-D54F-A492-019420F2ACA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08299" y="1685458"/>
            <a:ext cx="5504276" cy="444388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bullets are needed:</a:t>
            </a:r>
          </a:p>
          <a:p>
            <a:pPr marL="298450" lvl="2" indent="-285750">
              <a:buClr>
                <a:schemeClr val="tx2"/>
              </a:buClr>
              <a:buSzPct val="125000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first bullet level style (Main Bullet) </a:t>
            </a:r>
          </a:p>
          <a:p>
            <a:pPr marL="11113" lvl="3" indent="266700">
              <a:buSzPct val="80000"/>
              <a:buFont typeface="Courier New" panose="02070309020205020404" pitchFamily="49" charset="0"/>
              <a:buChar char="o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bullet level style (Sub Bullet)</a:t>
            </a:r>
          </a:p>
          <a:p>
            <a:pPr marL="558800" lvl="3" indent="-285750">
              <a:buClr>
                <a:schemeClr val="accent3"/>
              </a:buClr>
              <a:buSzPct val="80000"/>
              <a:buFont typeface="Wingdings" pitchFamily="2" charset="2"/>
              <a:buChar char="§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</a:t>
            </a:r>
            <a:r>
              <a:rPr lang="en-GB">
                <a:solidFill>
                  <a:srgbClr val="1F3367"/>
                </a:solidFill>
              </a:rPr>
              <a:t>third</a:t>
            </a: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ullet level style (Sub Bullet)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98AD298-C58E-844B-A5DE-249EF37768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E1FC86C0-487B-354B-AE8E-C589B63B39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467819F5-AD14-7141-B703-A016864DAAB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6F8B09E-DCE8-AC47-B3FF-02B0579C8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426454251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Four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EF625FCE-E81D-2F43-96A6-F0B3544020B5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479425" y="1685457"/>
            <a:ext cx="5504276" cy="21709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bullets are needed:</a:t>
            </a:r>
          </a:p>
          <a:p>
            <a:pPr marL="298450" lvl="2" indent="-285750">
              <a:buClr>
                <a:schemeClr val="tx2"/>
              </a:buClr>
              <a:buSzPct val="125000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first bullet level style (Main Bullet) </a:t>
            </a:r>
          </a:p>
          <a:p>
            <a:pPr marL="11113" lvl="3" indent="266700">
              <a:buSzPct val="80000"/>
              <a:buFont typeface="Courier New" panose="02070309020205020404" pitchFamily="49" charset="0"/>
              <a:buChar char="o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bullet level style (Sub Bullet)</a:t>
            </a:r>
          </a:p>
          <a:p>
            <a:pPr marL="558800" lvl="3" indent="-285750">
              <a:buClr>
                <a:schemeClr val="accent3"/>
              </a:buClr>
              <a:buSzPct val="80000"/>
              <a:buFont typeface="Wingdings" pitchFamily="2" charset="2"/>
              <a:buChar char="§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</a:t>
            </a:r>
            <a:r>
              <a:rPr lang="en-GB">
                <a:solidFill>
                  <a:srgbClr val="1F3367"/>
                </a:solidFill>
              </a:rPr>
              <a:t>third</a:t>
            </a: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ullet level style (Sub Bullet)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17AB2981-CDB2-D54F-A492-019420F2ACA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08299" y="1685457"/>
            <a:ext cx="5504276" cy="217092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bullets are needed:</a:t>
            </a:r>
          </a:p>
          <a:p>
            <a:pPr marL="298450" lvl="2" indent="-285750">
              <a:buClr>
                <a:schemeClr val="tx2"/>
              </a:buClr>
              <a:buSzPct val="125000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first bullet level style (Main Bullet) </a:t>
            </a:r>
          </a:p>
          <a:p>
            <a:pPr marL="11113" lvl="3" indent="266700">
              <a:buSzPct val="80000"/>
              <a:buFont typeface="Courier New" panose="02070309020205020404" pitchFamily="49" charset="0"/>
              <a:buChar char="o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bullet level style (Sub Bullet)</a:t>
            </a:r>
          </a:p>
          <a:p>
            <a:pPr marL="558800" lvl="3" indent="-285750">
              <a:buClr>
                <a:schemeClr val="accent3"/>
              </a:buClr>
              <a:buSzPct val="80000"/>
              <a:buFont typeface="Wingdings" pitchFamily="2" charset="2"/>
              <a:buChar char="§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</a:t>
            </a:r>
            <a:r>
              <a:rPr lang="en-GB">
                <a:solidFill>
                  <a:srgbClr val="1F3367"/>
                </a:solidFill>
              </a:rPr>
              <a:t>third</a:t>
            </a: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ullet level style (Sub Bullet)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435F6FB0-4C04-4642-870A-A73D4766FABE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489999" y="4016819"/>
            <a:ext cx="5504276" cy="21709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bullets are needed:</a:t>
            </a:r>
          </a:p>
          <a:p>
            <a:pPr marL="298450" lvl="2" indent="-285750">
              <a:buClr>
                <a:schemeClr val="tx2"/>
              </a:buClr>
              <a:buSzPct val="125000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first bullet level style (Main Bullet) </a:t>
            </a:r>
          </a:p>
          <a:p>
            <a:pPr marL="11113" lvl="3" indent="266700">
              <a:buSzPct val="80000"/>
              <a:buFont typeface="Courier New" panose="02070309020205020404" pitchFamily="49" charset="0"/>
              <a:buChar char="o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bullet level style (Sub Bullet)</a:t>
            </a:r>
          </a:p>
          <a:p>
            <a:pPr marL="558800" lvl="3" indent="-285750">
              <a:buClr>
                <a:schemeClr val="accent3"/>
              </a:buClr>
              <a:buSzPct val="80000"/>
              <a:buFont typeface="Wingdings" pitchFamily="2" charset="2"/>
              <a:buChar char="§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</a:t>
            </a:r>
            <a:r>
              <a:rPr lang="en-GB">
                <a:solidFill>
                  <a:srgbClr val="1F3367"/>
                </a:solidFill>
              </a:rPr>
              <a:t>third</a:t>
            </a: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ullet level style (Sub Bullet)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B6948931-9697-394C-8207-02805F484999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6218873" y="4016819"/>
            <a:ext cx="5504276" cy="217092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1pPr>
            <a:lvl2pPr>
              <a:defRPr sz="16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marL="12700" lvl="1" indent="0">
              <a:buNone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f bullets are needed:</a:t>
            </a:r>
          </a:p>
          <a:p>
            <a:pPr marL="298450" lvl="2" indent="-285750">
              <a:buClr>
                <a:schemeClr val="tx2"/>
              </a:buClr>
              <a:buSzPct val="125000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first bullet level style (Main Bullet) </a:t>
            </a:r>
          </a:p>
          <a:p>
            <a:pPr marL="11113" lvl="3" indent="266700">
              <a:buSzPct val="80000"/>
              <a:buFont typeface="Courier New" panose="02070309020205020404" pitchFamily="49" charset="0"/>
              <a:buChar char="o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second bullet level style (Sub Bullet)</a:t>
            </a:r>
          </a:p>
          <a:p>
            <a:pPr marL="558800" lvl="3" indent="-285750">
              <a:buClr>
                <a:schemeClr val="accent3"/>
              </a:buClr>
              <a:buSzPct val="80000"/>
              <a:buFont typeface="Wingdings" pitchFamily="2" charset="2"/>
              <a:buChar char="§"/>
            </a:pP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his is the </a:t>
            </a:r>
            <a:r>
              <a:rPr lang="en-GB">
                <a:solidFill>
                  <a:srgbClr val="1F3367"/>
                </a:solidFill>
              </a:rPr>
              <a:t>third</a:t>
            </a:r>
            <a:r>
              <a:rPr lang="en-GB">
                <a:solidFill>
                  <a:srgbClr val="1F3367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bullet level style (Sub Bullet)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42FE2174-599E-3341-B1C8-4A02DF282C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C8FC8044-3ADC-824B-A09B-688E24544BB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F692AC5-B907-C94E-ABA3-38477399DB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7BC3DDA4-7F58-2743-9BFA-EB9675785B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25243881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One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B5B6782A-4618-9D4A-93E0-1FC9575CACAB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0000" y="1688845"/>
            <a:ext cx="11222575" cy="4043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A2D9DF92-63DD-C54B-82BA-D93135B6ED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89999" y="5737703"/>
            <a:ext cx="11233149" cy="392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27A0478-5BDF-1740-A256-D90D7DC7F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78BCEB-D864-B44C-96D1-ED73AF298F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5C572CA3-5E86-864C-8B7E-0CEB12C714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D1FCCCB-C27A-F943-8FE5-95E285386D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327012842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Two Picture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B5B6782A-4618-9D4A-93E0-1FC9575CACAB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490000" y="1688845"/>
            <a:ext cx="5499983" cy="4043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A2D9DF92-63DD-C54B-82BA-D93135B6ED4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90000" y="5737703"/>
            <a:ext cx="5499984" cy="392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7803A147-0526-7B45-AAA1-8011E1482819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202016" y="1699384"/>
            <a:ext cx="5499983" cy="404329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1391621C-9642-244C-B4A5-1E22EACCD22C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6202016" y="5748242"/>
            <a:ext cx="5499984" cy="3924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01313D50-CC5F-0E43-A383-4E7AB64CB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4786BE0D-8562-4D4F-89CC-710CD907EE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EE7A4F8-E87B-3A4A-946C-D410A94881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7228375-D405-A947-B8B9-9B7549040E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34347489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Eight Picture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DA4CF2F5-C3D8-1B46-974A-00541F12F975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505598" y="1681092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4B42742C-91EC-B348-86E3-DD73CEC458E7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3369659" y="1681092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AF85D7B9-F08A-C84E-AE7D-B8C6492A3258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233720" y="1681092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FBFA9E6C-2433-7C41-A58C-BFF333332736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9097780" y="1681092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3C426E82-D8B2-1C46-BA76-2DB568A1619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05599" y="3361667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4FEE890-3FBD-3F41-B35A-B7F68EC9BDD5}"/>
              </a:ext>
            </a:extLst>
          </p:cNvPr>
          <p:cNvSpPr>
            <a:spLocks noGrp="1"/>
          </p:cNvSpPr>
          <p:nvPr>
            <p:ph type="body" sz="half" idx="16" hasCustomPrompt="1"/>
          </p:nvPr>
        </p:nvSpPr>
        <p:spPr>
          <a:xfrm>
            <a:off x="3369659" y="3355042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EB6C4FFB-FF4D-D745-8267-80B58F242D1E}"/>
              </a:ext>
            </a:extLst>
          </p:cNvPr>
          <p:cNvSpPr>
            <a:spLocks noGrp="1"/>
          </p:cNvSpPr>
          <p:nvPr>
            <p:ph type="body" sz="half" idx="17" hasCustomPrompt="1"/>
          </p:nvPr>
        </p:nvSpPr>
        <p:spPr>
          <a:xfrm>
            <a:off x="6238785" y="3356281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4446274-97D8-2B49-9914-911204AB5FE7}"/>
              </a:ext>
            </a:extLst>
          </p:cNvPr>
          <p:cNvSpPr>
            <a:spLocks noGrp="1"/>
          </p:cNvSpPr>
          <p:nvPr>
            <p:ph type="body" sz="half" idx="18" hasCustomPrompt="1"/>
          </p:nvPr>
        </p:nvSpPr>
        <p:spPr>
          <a:xfrm>
            <a:off x="9102845" y="3349656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91607F8F-DDD3-8C4B-8E43-7362A4759C7F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489999" y="3982897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846DEA59-E37C-1A44-9EEA-131BC1097463}"/>
              </a:ext>
            </a:extLst>
          </p:cNvPr>
          <p:cNvSpPr>
            <a:spLocks noGrp="1"/>
          </p:cNvSpPr>
          <p:nvPr>
            <p:ph type="pic" idx="20"/>
          </p:nvPr>
        </p:nvSpPr>
        <p:spPr>
          <a:xfrm>
            <a:off x="3354060" y="3982897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F46FCCA8-CE02-DE42-B008-1C1802270F73}"/>
              </a:ext>
            </a:extLst>
          </p:cNvPr>
          <p:cNvSpPr>
            <a:spLocks noGrp="1"/>
          </p:cNvSpPr>
          <p:nvPr>
            <p:ph type="pic" idx="21"/>
          </p:nvPr>
        </p:nvSpPr>
        <p:spPr>
          <a:xfrm>
            <a:off x="6218121" y="3982897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9082EA9A-A4D9-1048-8841-A1063510E0FD}"/>
              </a:ext>
            </a:extLst>
          </p:cNvPr>
          <p:cNvSpPr>
            <a:spLocks noGrp="1"/>
          </p:cNvSpPr>
          <p:nvPr>
            <p:ph type="pic" idx="22"/>
          </p:nvPr>
        </p:nvSpPr>
        <p:spPr>
          <a:xfrm>
            <a:off x="9082181" y="3982897"/>
            <a:ext cx="2609730" cy="16452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7842987-30C5-034C-9F7A-22CAB8B61599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490000" y="5663472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D6D35E5-BA06-9B47-ABA0-A788284D9B94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3354060" y="5656847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103ED604-5328-A941-ADE6-6256559E777B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23186" y="5658086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D415AA46-17C9-FB44-A1C2-9FADE2AE8574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9087246" y="5651461"/>
            <a:ext cx="2609730" cy="45495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Edit Master text styles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C77EA7B7-6A62-7648-B0A9-2EC1DC60B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D4731ACE-E894-B849-83D9-7CD0EF647E3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Footer Placeholder 4">
            <a:extLst>
              <a:ext uri="{FF2B5EF4-FFF2-40B4-BE49-F238E27FC236}">
                <a16:creationId xmlns:a16="http://schemas.microsoft.com/office/drawing/2014/main" id="{A4C4F986-C63E-D84D-B6BD-4682051939F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chemeClr val="tx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39" name="Slide Number Placeholder 5">
            <a:extLst>
              <a:ext uri="{FF2B5EF4-FFF2-40B4-BE49-F238E27FC236}">
                <a16:creationId xmlns:a16="http://schemas.microsoft.com/office/drawing/2014/main" id="{913539AF-1BEC-664C-899A-5ACE9F9B57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4005838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One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B5B6782A-4618-9D4A-93E0-1FC9575CACAB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1407354"/>
            <a:ext cx="12192000" cy="545064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GB"/>
              <a:t>Click icon to add picture</a:t>
            </a:r>
            <a:endParaRPr lang="en-GR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27A0478-5BDF-1740-A256-D90D7DC7F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39165"/>
            <a:ext cx="9089430" cy="4711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E78BCEB-D864-B44C-96D1-ED73AF298F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9999" y="810268"/>
            <a:ext cx="9089430" cy="564998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buNone/>
              <a:defRPr sz="2400" b="0" i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494002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Editab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EB36BF2-8823-2422-859C-F02FE9D7474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4362451"/>
            <a:ext cx="12192000" cy="249555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9CFFB178-D71B-ED83-F9B4-26D290B809A2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0">
                <a:schemeClr val="bg1">
                  <a:alpha val="61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AC8B0B-4863-C036-1BCF-1F8429F1CFD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7449" y="309565"/>
            <a:ext cx="10006617" cy="1349902"/>
          </a:xfrm>
        </p:spPr>
        <p:txBody>
          <a:bodyPr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400" b="1" kern="1200" cap="all" baseline="0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2">
                        <a:lumMod val="75000"/>
                      </a:schemeClr>
                    </a:gs>
                  </a:gsLst>
                  <a:lin ang="2700000" scaled="1"/>
                  <a:tileRect/>
                </a:gradFill>
                <a:effectLst>
                  <a:outerShdw blurRad="431800" algn="ctr" rotWithShape="0">
                    <a:schemeClr val="bg1">
                      <a:alpha val="84000"/>
                    </a:scheme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2CE5036-C9C9-E734-F52D-F195DF06F5B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7450" y="1659468"/>
            <a:ext cx="5578550" cy="1497389"/>
          </a:xfrm>
        </p:spPr>
        <p:txBody>
          <a:bodyPr>
            <a:noAutofit/>
          </a:bodyPr>
          <a:lstStyle>
            <a:lvl1pPr marL="0" indent="0" algn="l">
              <a:buNone/>
              <a:defRPr sz="2400" b="0" cap="none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7DAF544-DF39-4481-C335-71916C6645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9884910" y="6022838"/>
            <a:ext cx="1789641" cy="46686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5F7901E9-D281-6438-783B-4394169A50B4}"/>
              </a:ext>
            </a:extLst>
          </p:cNvPr>
          <p:cNvSpPr/>
          <p:nvPr userDrawn="1"/>
        </p:nvSpPr>
        <p:spPr>
          <a:xfrm>
            <a:off x="0" y="6864662"/>
            <a:ext cx="12192000" cy="7232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l">
              <a:lnSpc>
                <a:spcPct val="90000"/>
              </a:lnSpc>
              <a:spcAft>
                <a:spcPts val="200"/>
              </a:spcAft>
            </a:pPr>
            <a:r>
              <a:rPr lang="en-GB" sz="800" b="1">
                <a:solidFill>
                  <a:schemeClr val="bg1"/>
                </a:solidFill>
              </a:rPr>
              <a:t>To change background picture: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Right-click inside or outside the canvas &gt; Format Background… &gt; Picture or texture fill &gt; Insert… </a:t>
            </a:r>
            <a:br>
              <a:rPr lang="en-GB" sz="800">
                <a:solidFill>
                  <a:schemeClr val="bg1"/>
                </a:solidFill>
              </a:rPr>
            </a:br>
            <a:r>
              <a:rPr lang="en-GB" sz="800">
                <a:solidFill>
                  <a:schemeClr val="bg1"/>
                </a:solidFill>
              </a:rPr>
              <a:t>(or </a:t>
            </a:r>
            <a:r>
              <a:rPr lang="en-GB" sz="800" b="1">
                <a:solidFill>
                  <a:schemeClr val="bg1"/>
                </a:solidFill>
              </a:rPr>
              <a:t>Clipboard</a:t>
            </a:r>
            <a:r>
              <a:rPr lang="en-GB" sz="800">
                <a:solidFill>
                  <a:schemeClr val="bg1"/>
                </a:solidFill>
              </a:rPr>
              <a:t> if you copied the picture from another slide/presentation)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 b="1">
                <a:solidFill>
                  <a:schemeClr val="bg1"/>
                </a:solidFill>
              </a:rPr>
              <a:t>N.B. </a:t>
            </a:r>
            <a:r>
              <a:rPr lang="en-GB" sz="800">
                <a:solidFill>
                  <a:schemeClr val="bg1"/>
                </a:solidFill>
              </a:rPr>
              <a:t>Make sure the image has the right crop and contrast so that the title can read well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n-GB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4713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4_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logo with blue and yellow text&#10;&#10;Description automatically generated">
            <a:extLst>
              <a:ext uri="{FF2B5EF4-FFF2-40B4-BE49-F238E27FC236}">
                <a16:creationId xmlns:a16="http://schemas.microsoft.com/office/drawing/2014/main" id="{DBB32D24-344A-D43F-768E-5E6B6ABC01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80048" y="190255"/>
            <a:ext cx="1818540" cy="751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0173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71F8A7E-EE4E-4EB6-BDF8-B975A4517C8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8E383C0-EF03-4E6E-9BF5-F4E1C4A59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8DCC8237-1310-4FF4-E1D6-4239C5F6EF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068547"/>
            <a:ext cx="5461000" cy="276486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B034B8-1C32-B99B-5317-042EDD77A0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625600"/>
            <a:ext cx="10945812" cy="3484563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40240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bg object 17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836565"/>
            <a:ext cx="11691659" cy="5017940"/>
          </a:xfrm>
          <a:prstGeom prst="rect">
            <a:avLst/>
          </a:prstGeom>
        </p:spPr>
      </p:pic>
      <p:sp>
        <p:nvSpPr>
          <p:cNvPr id="18" name="bg object 18"/>
          <p:cNvSpPr/>
          <p:nvPr/>
        </p:nvSpPr>
        <p:spPr>
          <a:xfrm>
            <a:off x="161544" y="1028700"/>
            <a:ext cx="11353800" cy="4650105"/>
          </a:xfrm>
          <a:custGeom>
            <a:avLst/>
            <a:gdLst/>
            <a:ahLst/>
            <a:cxnLst/>
            <a:rect l="l" t="t" r="r" b="b"/>
            <a:pathLst>
              <a:path w="11353800" h="4650105">
                <a:moveTo>
                  <a:pt x="11140440" y="0"/>
                </a:moveTo>
                <a:lnTo>
                  <a:pt x="0" y="0"/>
                </a:lnTo>
                <a:lnTo>
                  <a:pt x="0" y="4649724"/>
                </a:lnTo>
                <a:lnTo>
                  <a:pt x="11140440" y="4649724"/>
                </a:lnTo>
                <a:lnTo>
                  <a:pt x="11189367" y="4644090"/>
                </a:lnTo>
                <a:lnTo>
                  <a:pt x="11234279" y="4628041"/>
                </a:lnTo>
                <a:lnTo>
                  <a:pt x="11273894" y="4602857"/>
                </a:lnTo>
                <a:lnTo>
                  <a:pt x="11306933" y="4569818"/>
                </a:lnTo>
                <a:lnTo>
                  <a:pt x="11332117" y="4530203"/>
                </a:lnTo>
                <a:lnTo>
                  <a:pt x="11348166" y="4485291"/>
                </a:lnTo>
                <a:lnTo>
                  <a:pt x="11353800" y="4436364"/>
                </a:lnTo>
                <a:lnTo>
                  <a:pt x="11353800" y="213360"/>
                </a:lnTo>
                <a:lnTo>
                  <a:pt x="11348166" y="164432"/>
                </a:lnTo>
                <a:lnTo>
                  <a:pt x="11332117" y="119520"/>
                </a:lnTo>
                <a:lnTo>
                  <a:pt x="11306933" y="79905"/>
                </a:lnTo>
                <a:lnTo>
                  <a:pt x="11273894" y="46866"/>
                </a:lnTo>
                <a:lnTo>
                  <a:pt x="11234279" y="21682"/>
                </a:lnTo>
                <a:lnTo>
                  <a:pt x="11189367" y="5633"/>
                </a:lnTo>
                <a:lnTo>
                  <a:pt x="1114044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9" name="bg object 19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0" y="1028700"/>
            <a:ext cx="161543" cy="4649724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503326" y="1198625"/>
            <a:ext cx="9505315" cy="12446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0960A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pPr marL="177800">
              <a:lnSpc>
                <a:spcPct val="100000"/>
              </a:lnSpc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171284147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1" i="0">
                <a:solidFill>
                  <a:srgbClr val="0960A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pPr marL="177800">
              <a:lnSpc>
                <a:spcPct val="100000"/>
              </a:lnSpc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208799869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785229" y="2003551"/>
            <a:ext cx="3279140" cy="36537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400" b="0" i="0">
                <a:solidFill>
                  <a:srgbClr val="394A5D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5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pPr marL="177800">
              <a:lnSpc>
                <a:spcPct val="100000"/>
              </a:lnSpc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8751417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5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pPr marL="177800">
              <a:lnSpc>
                <a:spcPct val="100000"/>
              </a:lnSpc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27432105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g object 16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5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pPr marL="177800">
              <a:lnSpc>
                <a:spcPct val="100000"/>
              </a:lnSpc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177791465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Title">
    <p:bg>
      <p:bgPr>
        <a:gradFill flip="none" rotWithShape="1">
          <a:gsLst>
            <a:gs pos="0">
              <a:schemeClr val="accent1"/>
            </a:gs>
            <a:gs pos="100000">
              <a:srgbClr val="0066B1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7504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E4FDBC-F465-8174-4102-9FCCE92DC6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/>
          <a:srcRect/>
          <a:stretch/>
        </p:blipFill>
        <p:spPr>
          <a:xfrm>
            <a:off x="547689" y="353455"/>
            <a:ext cx="2700070" cy="771937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129737BC-BF91-AFD0-F039-4DF1C0B81BB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Additional logo goes here (if applicable).</a:t>
            </a:r>
          </a:p>
        </p:txBody>
      </p:sp>
      <p:sp>
        <p:nvSpPr>
          <p:cNvPr id="5" name="Documenttype">
            <a:extLst>
              <a:ext uri="{FF2B5EF4-FFF2-40B4-BE49-F238E27FC236}">
                <a16:creationId xmlns:a16="http://schemas.microsoft.com/office/drawing/2014/main" id="{C3427993-5267-3832-1CEC-DFA805101C1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5A72C816-F2D9-AD52-E408-89AEB021A2A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EC27F79-3345-2BFE-EBEB-EAA9ED97D43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52539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ue Contrast Title">
    <p:bg>
      <p:bgPr>
        <a:gradFill flip="none" rotWithShape="1">
          <a:gsLst>
            <a:gs pos="0">
              <a:schemeClr val="accent1"/>
            </a:gs>
            <a:gs pos="100000">
              <a:srgbClr val="0066B1"/>
            </a:gs>
          </a:gsLst>
          <a:lin ang="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283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49D4260A-FB86-A07D-BAD2-8FB3838856DB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8E4FDBC-F465-8174-4102-9FCCE92DC6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/>
          <a:srcRect/>
          <a:stretch/>
        </p:blipFill>
        <p:spPr>
          <a:xfrm>
            <a:off x="547689" y="353455"/>
            <a:ext cx="2700070" cy="771937"/>
          </a:xfrm>
          <a:prstGeom prst="rect">
            <a:avLst/>
          </a:prstGeom>
        </p:spPr>
      </p:pic>
      <p:sp>
        <p:nvSpPr>
          <p:cNvPr id="3" name="ClientLogo">
            <a:extLst>
              <a:ext uri="{FF2B5EF4-FFF2-40B4-BE49-F238E27FC236}">
                <a16:creationId xmlns:a16="http://schemas.microsoft.com/office/drawing/2014/main" id="{129737BC-BF91-AFD0-F039-4DF1C0B81BB6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/>
              <a:t>Additional logo goes here (if applicable).</a:t>
            </a:r>
          </a:p>
        </p:txBody>
      </p:sp>
      <p:sp>
        <p:nvSpPr>
          <p:cNvPr id="5" name="Documenttype">
            <a:extLst>
              <a:ext uri="{FF2B5EF4-FFF2-40B4-BE49-F238E27FC236}">
                <a16:creationId xmlns:a16="http://schemas.microsoft.com/office/drawing/2014/main" id="{C3427993-5267-3832-1CEC-DFA805101C1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177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bg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date or title/role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5A72C816-F2D9-AD52-E408-89AEB021A2A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3759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Title">
            <a:extLst>
              <a:ext uri="{FF2B5EF4-FFF2-40B4-BE49-F238E27FC236}">
                <a16:creationId xmlns:a16="http://schemas.microsoft.com/office/drawing/2014/main" id="{2EC27F79-3345-2BFE-EBEB-EAA9ED97D43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1716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010356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rast Default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4828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19250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5350407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close-up of a white building&#10;&#10;Description automatically generated">
            <a:extLst>
              <a:ext uri="{FF2B5EF4-FFF2-40B4-BE49-F238E27FC236}">
                <a16:creationId xmlns:a16="http://schemas.microsoft.com/office/drawing/2014/main" id="{BE0AE54F-68B3-2437-4F70-710F0DF397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0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2" name="Picture 21" descr="A close-up of a white building&#10;&#10;Description automatically generated">
            <a:extLst>
              <a:ext uri="{FF2B5EF4-FFF2-40B4-BE49-F238E27FC236}">
                <a16:creationId xmlns:a16="http://schemas.microsoft.com/office/drawing/2014/main" id="{255A6CFF-7343-3E7D-4B00-821A0D7278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" t="15604" r="21470" b="12235"/>
          <a:stretch/>
        </p:blipFill>
        <p:spPr>
          <a:xfrm>
            <a:off x="-1" y="-1"/>
            <a:ext cx="9574438" cy="5863770"/>
          </a:xfrm>
          <a:custGeom>
            <a:avLst/>
            <a:gdLst>
              <a:gd name="connsiteX0" fmla="*/ 3516612 w 9574438"/>
              <a:gd name="connsiteY0" fmla="*/ 5801231 h 5863770"/>
              <a:gd name="connsiteX1" fmla="*/ 3322789 w 9574438"/>
              <a:gd name="connsiteY1" fmla="*/ 5824311 h 5863770"/>
              <a:gd name="connsiteX2" fmla="*/ 3507285 w 9574438"/>
              <a:gd name="connsiteY2" fmla="*/ 5802756 h 5863770"/>
              <a:gd name="connsiteX3" fmla="*/ 3802913 w 9574438"/>
              <a:gd name="connsiteY3" fmla="*/ 5753775 h 5863770"/>
              <a:gd name="connsiteX4" fmla="*/ 3631097 w 9574438"/>
              <a:gd name="connsiteY4" fmla="*/ 5782515 h 5863770"/>
              <a:gd name="connsiteX5" fmla="*/ 3789145 w 9574438"/>
              <a:gd name="connsiteY5" fmla="*/ 5756676 h 5863770"/>
              <a:gd name="connsiteX6" fmla="*/ 4084691 w 9574438"/>
              <a:gd name="connsiteY6" fmla="*/ 5693550 h 5863770"/>
              <a:gd name="connsiteX7" fmla="*/ 3923623 w 9574438"/>
              <a:gd name="connsiteY7" fmla="*/ 5728346 h 5863770"/>
              <a:gd name="connsiteX8" fmla="*/ 4066645 w 9574438"/>
              <a:gd name="connsiteY8" fmla="*/ 5698216 h 5863770"/>
              <a:gd name="connsiteX9" fmla="*/ 4361639 w 9574438"/>
              <a:gd name="connsiteY9" fmla="*/ 5620863 h 5863770"/>
              <a:gd name="connsiteX10" fmla="*/ 4207686 w 9574438"/>
              <a:gd name="connsiteY10" fmla="*/ 5661749 h 5863770"/>
              <a:gd name="connsiteX11" fmla="*/ 4339490 w 9574438"/>
              <a:gd name="connsiteY11" fmla="*/ 5627671 h 5863770"/>
              <a:gd name="connsiteX12" fmla="*/ 4633447 w 9574438"/>
              <a:gd name="connsiteY12" fmla="*/ 5536025 h 5863770"/>
              <a:gd name="connsiteX13" fmla="*/ 4485041 w 9574438"/>
              <a:gd name="connsiteY13" fmla="*/ 5582937 h 5863770"/>
              <a:gd name="connsiteX14" fmla="*/ 4607385 w 9574438"/>
              <a:gd name="connsiteY14" fmla="*/ 5545336 h 5863770"/>
              <a:gd name="connsiteX15" fmla="*/ 4899809 w 9574438"/>
              <a:gd name="connsiteY15" fmla="*/ 5439344 h 5863770"/>
              <a:gd name="connsiteX16" fmla="*/ 4756171 w 9574438"/>
              <a:gd name="connsiteY16" fmla="*/ 5492184 h 5863770"/>
              <a:gd name="connsiteX17" fmla="*/ 4870035 w 9574438"/>
              <a:gd name="connsiteY17" fmla="*/ 5451507 h 5863770"/>
              <a:gd name="connsiteX18" fmla="*/ 5160408 w 9574438"/>
              <a:gd name="connsiteY18" fmla="*/ 5331131 h 5863770"/>
              <a:gd name="connsiteX19" fmla="*/ 5021149 w 9574438"/>
              <a:gd name="connsiteY19" fmla="*/ 5389777 h 5863770"/>
              <a:gd name="connsiteX20" fmla="*/ 5127144 w 9574438"/>
              <a:gd name="connsiteY20" fmla="*/ 5346478 h 5863770"/>
              <a:gd name="connsiteX21" fmla="*/ 5414942 w 9574438"/>
              <a:gd name="connsiteY21" fmla="*/ 5211692 h 5863770"/>
              <a:gd name="connsiteX22" fmla="*/ 5279864 w 9574438"/>
              <a:gd name="connsiteY22" fmla="*/ 5276016 h 5863770"/>
              <a:gd name="connsiteX23" fmla="*/ 5378417 w 9574438"/>
              <a:gd name="connsiteY23" fmla="*/ 5230546 h 5863770"/>
              <a:gd name="connsiteX24" fmla="*/ 5663097 w 9574438"/>
              <a:gd name="connsiteY24" fmla="*/ 5081337 h 5863770"/>
              <a:gd name="connsiteX25" fmla="*/ 5532114 w 9574438"/>
              <a:gd name="connsiteY25" fmla="*/ 5151208 h 5863770"/>
              <a:gd name="connsiteX26" fmla="*/ 5623559 w 9574438"/>
              <a:gd name="connsiteY26" fmla="*/ 5104004 h 5863770"/>
              <a:gd name="connsiteX27" fmla="*/ 5904568 w 9574438"/>
              <a:gd name="connsiteY27" fmla="*/ 4940374 h 5863770"/>
              <a:gd name="connsiteX28" fmla="*/ 5777664 w 9574438"/>
              <a:gd name="connsiteY28" fmla="*/ 5015656 h 5863770"/>
              <a:gd name="connsiteX29" fmla="*/ 5862275 w 9574438"/>
              <a:gd name="connsiteY29" fmla="*/ 4967149 h 5863770"/>
              <a:gd name="connsiteX30" fmla="*/ 6139048 w 9574438"/>
              <a:gd name="connsiteY30" fmla="*/ 4789108 h 5863770"/>
              <a:gd name="connsiteX31" fmla="*/ 6016247 w 9574438"/>
              <a:gd name="connsiteY31" fmla="*/ 4869671 h 5863770"/>
              <a:gd name="connsiteX32" fmla="*/ 6094270 w 9574438"/>
              <a:gd name="connsiteY32" fmla="*/ 4820275 h 5863770"/>
              <a:gd name="connsiteX33" fmla="*/ 6366223 w 9574438"/>
              <a:gd name="connsiteY33" fmla="*/ 4627849 h 5863770"/>
              <a:gd name="connsiteX34" fmla="*/ 6247586 w 9574438"/>
              <a:gd name="connsiteY34" fmla="*/ 4713559 h 5863770"/>
              <a:gd name="connsiteX35" fmla="*/ 6319249 w 9574438"/>
              <a:gd name="connsiteY35" fmla="*/ 4663678 h 5863770"/>
              <a:gd name="connsiteX36" fmla="*/ 6585787 w 9574438"/>
              <a:gd name="connsiteY36" fmla="*/ 4456901 h 5863770"/>
              <a:gd name="connsiteX37" fmla="*/ 6471399 w 9574438"/>
              <a:gd name="connsiteY37" fmla="*/ 4547626 h 5863770"/>
              <a:gd name="connsiteX38" fmla="*/ 6536916 w 9574438"/>
              <a:gd name="connsiteY38" fmla="*/ 4497653 h 5863770"/>
              <a:gd name="connsiteX39" fmla="*/ 6797433 w 9574438"/>
              <a:gd name="connsiteY39" fmla="*/ 4276570 h 5863770"/>
              <a:gd name="connsiteX40" fmla="*/ 6687386 w 9574438"/>
              <a:gd name="connsiteY40" fmla="*/ 4372183 h 5863770"/>
              <a:gd name="connsiteX41" fmla="*/ 6746976 w 9574438"/>
              <a:gd name="connsiteY41" fmla="*/ 4322494 h 5863770"/>
              <a:gd name="connsiteX42" fmla="*/ 7000847 w 9574438"/>
              <a:gd name="connsiteY42" fmla="*/ 4087163 h 5863770"/>
              <a:gd name="connsiteX43" fmla="*/ 6895256 w 9574438"/>
              <a:gd name="connsiteY43" fmla="*/ 4187535 h 5863770"/>
              <a:gd name="connsiteX44" fmla="*/ 6949133 w 9574438"/>
              <a:gd name="connsiteY44" fmla="*/ 4138498 h 5863770"/>
              <a:gd name="connsiteX45" fmla="*/ 7195727 w 9574438"/>
              <a:gd name="connsiteY45" fmla="*/ 3888980 h 5863770"/>
              <a:gd name="connsiteX46" fmla="*/ 7094706 w 9574438"/>
              <a:gd name="connsiteY46" fmla="*/ 3993992 h 5863770"/>
              <a:gd name="connsiteX47" fmla="*/ 7143094 w 9574438"/>
              <a:gd name="connsiteY47" fmla="*/ 3945960 h 5863770"/>
              <a:gd name="connsiteX48" fmla="*/ 7381761 w 9574438"/>
              <a:gd name="connsiteY48" fmla="*/ 3682322 h 5863770"/>
              <a:gd name="connsiteX49" fmla="*/ 7285433 w 9574438"/>
              <a:gd name="connsiteY49" fmla="*/ 3791865 h 5863770"/>
              <a:gd name="connsiteX50" fmla="*/ 7328562 w 9574438"/>
              <a:gd name="connsiteY50" fmla="*/ 3745174 h 5863770"/>
              <a:gd name="connsiteX51" fmla="*/ 7558646 w 9574438"/>
              <a:gd name="connsiteY51" fmla="*/ 3467483 h 5863770"/>
              <a:gd name="connsiteX52" fmla="*/ 7467134 w 9574438"/>
              <a:gd name="connsiteY52" fmla="*/ 3581459 h 5863770"/>
              <a:gd name="connsiteX53" fmla="*/ 7505242 w 9574438"/>
              <a:gd name="connsiteY53" fmla="*/ 3536435 h 5863770"/>
              <a:gd name="connsiteX54" fmla="*/ 7694773 w 9574438"/>
              <a:gd name="connsiteY54" fmla="*/ 3287540 h 5863770"/>
              <a:gd name="connsiteX55" fmla="*/ 7639500 w 9574438"/>
              <a:gd name="connsiteY55" fmla="*/ 3363088 h 5863770"/>
              <a:gd name="connsiteX56" fmla="*/ 7672840 w 9574438"/>
              <a:gd name="connsiteY56" fmla="*/ 3320040 h 5863770"/>
              <a:gd name="connsiteX57" fmla="*/ 8108382 w 9574438"/>
              <a:gd name="connsiteY57" fmla="*/ 2633055 h 5863770"/>
              <a:gd name="connsiteX58" fmla="*/ 7954251 w 9574438"/>
              <a:gd name="connsiteY58" fmla="*/ 2903031 h 5863770"/>
              <a:gd name="connsiteX59" fmla="*/ 7979606 w 9574438"/>
              <a:gd name="connsiteY59" fmla="*/ 2865459 h 5863770"/>
              <a:gd name="connsiteX60" fmla="*/ 8362048 w 9574438"/>
              <a:gd name="connsiteY60" fmla="*/ 2123338 h 5863770"/>
              <a:gd name="connsiteX61" fmla="*/ 8228829 w 9574438"/>
              <a:gd name="connsiteY61" fmla="*/ 2415681 h 5863770"/>
              <a:gd name="connsiteX62" fmla="*/ 8246499 w 9574438"/>
              <a:gd name="connsiteY62" fmla="*/ 2383793 h 5863770"/>
              <a:gd name="connsiteX63" fmla="*/ 8481861 w 9574438"/>
              <a:gd name="connsiteY63" fmla="*/ 1845965 h 5863770"/>
              <a:gd name="connsiteX64" fmla="*/ 8464193 w 9574438"/>
              <a:gd name="connsiteY64" fmla="*/ 1893097 h 5863770"/>
              <a:gd name="connsiteX65" fmla="*/ 8471156 w 9574438"/>
              <a:gd name="connsiteY65" fmla="*/ 1877402 h 5863770"/>
              <a:gd name="connsiteX66" fmla="*/ 8688629 w 9574438"/>
              <a:gd name="connsiteY66" fmla="*/ 1208410 h 5863770"/>
              <a:gd name="connsiteX67" fmla="*/ 8647389 w 9574438"/>
              <a:gd name="connsiteY67" fmla="*/ 1359890 h 5863770"/>
              <a:gd name="connsiteX68" fmla="*/ 8651217 w 9574438"/>
              <a:gd name="connsiteY68" fmla="*/ 1348648 h 5863770"/>
              <a:gd name="connsiteX69" fmla="*/ 8757743 w 9574438"/>
              <a:gd name="connsiteY69" fmla="*/ 921387 h 5863770"/>
              <a:gd name="connsiteX70" fmla="*/ 8720186 w 9574438"/>
              <a:gd name="connsiteY70" fmla="*/ 1090117 h 5863770"/>
              <a:gd name="connsiteX71" fmla="*/ 8723786 w 9574438"/>
              <a:gd name="connsiteY71" fmla="*/ 1076623 h 5863770"/>
              <a:gd name="connsiteX72" fmla="*/ 8815440 w 9574438"/>
              <a:gd name="connsiteY72" fmla="*/ 618393 h 5863770"/>
              <a:gd name="connsiteX73" fmla="*/ 8782316 w 9574438"/>
              <a:gd name="connsiteY73" fmla="*/ 809051 h 5863770"/>
              <a:gd name="connsiteX74" fmla="*/ 8784320 w 9574438"/>
              <a:gd name="connsiteY74" fmla="*/ 799893 h 5863770"/>
              <a:gd name="connsiteX75" fmla="*/ 0 w 9574438"/>
              <a:gd name="connsiteY75" fmla="*/ 0 h 5863770"/>
              <a:gd name="connsiteX76" fmla="*/ 8885858 w 9574438"/>
              <a:gd name="connsiteY76" fmla="*/ 0 h 5863770"/>
              <a:gd name="connsiteX77" fmla="*/ 8868102 w 9574438"/>
              <a:gd name="connsiteY77" fmla="*/ 233497 h 5863770"/>
              <a:gd name="connsiteX78" fmla="*/ 8831724 w 9574438"/>
              <a:gd name="connsiteY78" fmla="*/ 523416 h 5863770"/>
              <a:gd name="connsiteX79" fmla="*/ 8832524 w 9574438"/>
              <a:gd name="connsiteY79" fmla="*/ 518753 h 5863770"/>
              <a:gd name="connsiteX80" fmla="*/ 8868103 w 9574438"/>
              <a:gd name="connsiteY80" fmla="*/ 233498 h 5863770"/>
              <a:gd name="connsiteX81" fmla="*/ 8885859 w 9574438"/>
              <a:gd name="connsiteY81" fmla="*/ 1 h 5863770"/>
              <a:gd name="connsiteX82" fmla="*/ 9574438 w 9574438"/>
              <a:gd name="connsiteY82" fmla="*/ 1 h 5863770"/>
              <a:gd name="connsiteX83" fmla="*/ 9563740 w 9574438"/>
              <a:gd name="connsiteY83" fmla="*/ 85256 h 5863770"/>
              <a:gd name="connsiteX84" fmla="*/ 2847069 w 9574438"/>
              <a:gd name="connsiteY84" fmla="*/ 5863770 h 5863770"/>
              <a:gd name="connsiteX85" fmla="*/ 2741559 w 9574438"/>
              <a:gd name="connsiteY85" fmla="*/ 5861102 h 5863770"/>
              <a:gd name="connsiteX86" fmla="*/ 2931666 w 9574438"/>
              <a:gd name="connsiteY86" fmla="*/ 5856595 h 5863770"/>
              <a:gd name="connsiteX87" fmla="*/ 3221360 w 9574438"/>
              <a:gd name="connsiteY87" fmla="*/ 5836161 h 5863770"/>
              <a:gd name="connsiteX88" fmla="*/ 3226101 w 9574438"/>
              <a:gd name="connsiteY88" fmla="*/ 5835607 h 5863770"/>
              <a:gd name="connsiteX89" fmla="*/ 2931665 w 9574438"/>
              <a:gd name="connsiteY89" fmla="*/ 5856594 h 5863770"/>
              <a:gd name="connsiteX90" fmla="*/ 2628985 w 9574438"/>
              <a:gd name="connsiteY90" fmla="*/ 5863770 h 5863770"/>
              <a:gd name="connsiteX91" fmla="*/ 187835 w 9574438"/>
              <a:gd name="connsiteY91" fmla="*/ 5370924 h 5863770"/>
              <a:gd name="connsiteX92" fmla="*/ 0 w 9574438"/>
              <a:gd name="connsiteY92" fmla="*/ 5286005 h 5863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9574438" h="5863770">
                <a:moveTo>
                  <a:pt x="3516612" y="5801231"/>
                </a:moveTo>
                <a:lnTo>
                  <a:pt x="3322789" y="5824311"/>
                </a:lnTo>
                <a:lnTo>
                  <a:pt x="3507285" y="5802756"/>
                </a:lnTo>
                <a:close/>
                <a:moveTo>
                  <a:pt x="3802913" y="5753775"/>
                </a:moveTo>
                <a:lnTo>
                  <a:pt x="3631097" y="5782515"/>
                </a:lnTo>
                <a:lnTo>
                  <a:pt x="3789145" y="5756676"/>
                </a:lnTo>
                <a:close/>
                <a:moveTo>
                  <a:pt x="4084691" y="5693550"/>
                </a:moveTo>
                <a:lnTo>
                  <a:pt x="3923623" y="5728346"/>
                </a:lnTo>
                <a:lnTo>
                  <a:pt x="4066645" y="5698216"/>
                </a:lnTo>
                <a:close/>
                <a:moveTo>
                  <a:pt x="4361639" y="5620863"/>
                </a:moveTo>
                <a:lnTo>
                  <a:pt x="4207686" y="5661749"/>
                </a:lnTo>
                <a:lnTo>
                  <a:pt x="4339490" y="5627671"/>
                </a:lnTo>
                <a:close/>
                <a:moveTo>
                  <a:pt x="4633447" y="5536025"/>
                </a:moveTo>
                <a:lnTo>
                  <a:pt x="4485041" y="5582937"/>
                </a:lnTo>
                <a:lnTo>
                  <a:pt x="4607385" y="5545336"/>
                </a:lnTo>
                <a:close/>
                <a:moveTo>
                  <a:pt x="4899809" y="5439344"/>
                </a:moveTo>
                <a:lnTo>
                  <a:pt x="4756171" y="5492184"/>
                </a:lnTo>
                <a:lnTo>
                  <a:pt x="4870035" y="5451507"/>
                </a:lnTo>
                <a:close/>
                <a:moveTo>
                  <a:pt x="5160408" y="5331131"/>
                </a:moveTo>
                <a:lnTo>
                  <a:pt x="5021149" y="5389777"/>
                </a:lnTo>
                <a:lnTo>
                  <a:pt x="5127144" y="5346478"/>
                </a:lnTo>
                <a:close/>
                <a:moveTo>
                  <a:pt x="5414942" y="5211692"/>
                </a:moveTo>
                <a:lnTo>
                  <a:pt x="5279864" y="5276016"/>
                </a:lnTo>
                <a:lnTo>
                  <a:pt x="5378417" y="5230546"/>
                </a:lnTo>
                <a:close/>
                <a:moveTo>
                  <a:pt x="5663097" y="5081337"/>
                </a:moveTo>
                <a:lnTo>
                  <a:pt x="5532114" y="5151208"/>
                </a:lnTo>
                <a:lnTo>
                  <a:pt x="5623559" y="5104004"/>
                </a:lnTo>
                <a:close/>
                <a:moveTo>
                  <a:pt x="5904568" y="4940374"/>
                </a:moveTo>
                <a:lnTo>
                  <a:pt x="5777664" y="5015656"/>
                </a:lnTo>
                <a:lnTo>
                  <a:pt x="5862275" y="4967149"/>
                </a:lnTo>
                <a:close/>
                <a:moveTo>
                  <a:pt x="6139048" y="4789108"/>
                </a:moveTo>
                <a:lnTo>
                  <a:pt x="6016247" y="4869671"/>
                </a:lnTo>
                <a:lnTo>
                  <a:pt x="6094270" y="4820275"/>
                </a:lnTo>
                <a:close/>
                <a:moveTo>
                  <a:pt x="6366223" y="4627849"/>
                </a:moveTo>
                <a:lnTo>
                  <a:pt x="6247586" y="4713559"/>
                </a:lnTo>
                <a:lnTo>
                  <a:pt x="6319249" y="4663678"/>
                </a:lnTo>
                <a:close/>
                <a:moveTo>
                  <a:pt x="6585787" y="4456901"/>
                </a:moveTo>
                <a:lnTo>
                  <a:pt x="6471399" y="4547626"/>
                </a:lnTo>
                <a:lnTo>
                  <a:pt x="6536916" y="4497653"/>
                </a:lnTo>
                <a:close/>
                <a:moveTo>
                  <a:pt x="6797433" y="4276570"/>
                </a:moveTo>
                <a:lnTo>
                  <a:pt x="6687386" y="4372183"/>
                </a:lnTo>
                <a:lnTo>
                  <a:pt x="6746976" y="4322494"/>
                </a:lnTo>
                <a:close/>
                <a:moveTo>
                  <a:pt x="7000847" y="4087163"/>
                </a:moveTo>
                <a:lnTo>
                  <a:pt x="6895256" y="4187535"/>
                </a:lnTo>
                <a:lnTo>
                  <a:pt x="6949133" y="4138498"/>
                </a:lnTo>
                <a:close/>
                <a:moveTo>
                  <a:pt x="7195727" y="3888980"/>
                </a:moveTo>
                <a:lnTo>
                  <a:pt x="7094706" y="3993992"/>
                </a:lnTo>
                <a:lnTo>
                  <a:pt x="7143094" y="3945960"/>
                </a:lnTo>
                <a:close/>
                <a:moveTo>
                  <a:pt x="7381761" y="3682322"/>
                </a:moveTo>
                <a:lnTo>
                  <a:pt x="7285433" y="3791865"/>
                </a:lnTo>
                <a:lnTo>
                  <a:pt x="7328562" y="3745174"/>
                </a:lnTo>
                <a:close/>
                <a:moveTo>
                  <a:pt x="7558646" y="3467483"/>
                </a:moveTo>
                <a:lnTo>
                  <a:pt x="7467134" y="3581459"/>
                </a:lnTo>
                <a:lnTo>
                  <a:pt x="7505242" y="3536435"/>
                </a:lnTo>
                <a:close/>
                <a:moveTo>
                  <a:pt x="7694773" y="3287540"/>
                </a:moveTo>
                <a:lnTo>
                  <a:pt x="7639500" y="3363088"/>
                </a:lnTo>
                <a:lnTo>
                  <a:pt x="7672840" y="3320040"/>
                </a:lnTo>
                <a:close/>
                <a:moveTo>
                  <a:pt x="8108382" y="2633055"/>
                </a:moveTo>
                <a:lnTo>
                  <a:pt x="7954251" y="2903031"/>
                </a:lnTo>
                <a:lnTo>
                  <a:pt x="7979606" y="2865459"/>
                </a:lnTo>
                <a:close/>
                <a:moveTo>
                  <a:pt x="8362048" y="2123338"/>
                </a:moveTo>
                <a:lnTo>
                  <a:pt x="8228829" y="2415681"/>
                </a:lnTo>
                <a:lnTo>
                  <a:pt x="8246499" y="2383793"/>
                </a:lnTo>
                <a:close/>
                <a:moveTo>
                  <a:pt x="8481861" y="1845965"/>
                </a:moveTo>
                <a:lnTo>
                  <a:pt x="8464193" y="1893097"/>
                </a:lnTo>
                <a:lnTo>
                  <a:pt x="8471156" y="1877402"/>
                </a:lnTo>
                <a:close/>
                <a:moveTo>
                  <a:pt x="8688629" y="1208410"/>
                </a:moveTo>
                <a:lnTo>
                  <a:pt x="8647389" y="1359890"/>
                </a:lnTo>
                <a:lnTo>
                  <a:pt x="8651217" y="1348648"/>
                </a:lnTo>
                <a:close/>
                <a:moveTo>
                  <a:pt x="8757743" y="921387"/>
                </a:moveTo>
                <a:lnTo>
                  <a:pt x="8720186" y="1090117"/>
                </a:lnTo>
                <a:lnTo>
                  <a:pt x="8723786" y="1076623"/>
                </a:lnTo>
                <a:close/>
                <a:moveTo>
                  <a:pt x="8815440" y="618393"/>
                </a:moveTo>
                <a:lnTo>
                  <a:pt x="8782316" y="809051"/>
                </a:lnTo>
                <a:lnTo>
                  <a:pt x="8784320" y="799893"/>
                </a:lnTo>
                <a:close/>
                <a:moveTo>
                  <a:pt x="0" y="0"/>
                </a:moveTo>
                <a:lnTo>
                  <a:pt x="8885858" y="0"/>
                </a:lnTo>
                <a:lnTo>
                  <a:pt x="8868102" y="233497"/>
                </a:lnTo>
                <a:lnTo>
                  <a:pt x="8831724" y="523416"/>
                </a:lnTo>
                <a:lnTo>
                  <a:pt x="8832524" y="518753"/>
                </a:lnTo>
                <a:cubicBezTo>
                  <a:pt x="8846504" y="424337"/>
                  <a:pt x="8858380" y="329236"/>
                  <a:pt x="8868103" y="233498"/>
                </a:cubicBezTo>
                <a:lnTo>
                  <a:pt x="8885859" y="1"/>
                </a:lnTo>
                <a:lnTo>
                  <a:pt x="9574438" y="1"/>
                </a:lnTo>
                <a:lnTo>
                  <a:pt x="9563740" y="85256"/>
                </a:lnTo>
                <a:cubicBezTo>
                  <a:pt x="9074557" y="3355646"/>
                  <a:pt x="6253714" y="5863770"/>
                  <a:pt x="2847069" y="5863770"/>
                </a:cubicBezTo>
                <a:lnTo>
                  <a:pt x="2741559" y="5861102"/>
                </a:lnTo>
                <a:lnTo>
                  <a:pt x="2931666" y="5856595"/>
                </a:lnTo>
                <a:cubicBezTo>
                  <a:pt x="3028826" y="5851978"/>
                  <a:pt x="3125407" y="5845150"/>
                  <a:pt x="3221360" y="5836161"/>
                </a:cubicBezTo>
                <a:lnTo>
                  <a:pt x="3226101" y="5835607"/>
                </a:lnTo>
                <a:lnTo>
                  <a:pt x="2931665" y="5856594"/>
                </a:lnTo>
                <a:cubicBezTo>
                  <a:pt x="2831371" y="5861360"/>
                  <a:pt x="2730459" y="5863770"/>
                  <a:pt x="2628985" y="5863770"/>
                </a:cubicBezTo>
                <a:cubicBezTo>
                  <a:pt x="1763073" y="5863770"/>
                  <a:pt x="938147" y="5688279"/>
                  <a:pt x="187835" y="5370924"/>
                </a:cubicBezTo>
                <a:lnTo>
                  <a:pt x="0" y="5286005"/>
                </a:lnTo>
                <a:close/>
              </a:path>
            </a:pathLst>
          </a:custGeom>
          <a:effectLst>
            <a:outerShdw blurRad="254000" algn="ctr" rotWithShape="0">
              <a:prstClr val="black">
                <a:alpha val="10000"/>
              </a:prstClr>
            </a:outerShdw>
          </a:effectLst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3D9E990-C112-10F6-8C49-677EFBCFD1C3}"/>
              </a:ext>
            </a:extLst>
          </p:cNvPr>
          <p:cNvSpPr/>
          <p:nvPr userDrawn="1"/>
        </p:nvSpPr>
        <p:spPr>
          <a:xfrm rot="10800000">
            <a:off x="-2" y="0"/>
            <a:ext cx="9574439" cy="5863771"/>
          </a:xfrm>
          <a:custGeom>
            <a:avLst/>
            <a:gdLst>
              <a:gd name="connsiteX0" fmla="*/ 9574439 w 9574439"/>
              <a:gd name="connsiteY0" fmla="*/ 5863771 h 5863771"/>
              <a:gd name="connsiteX1" fmla="*/ 0 w 9574439"/>
              <a:gd name="connsiteY1" fmla="*/ 5863771 h 5863771"/>
              <a:gd name="connsiteX2" fmla="*/ 10698 w 9574439"/>
              <a:gd name="connsiteY2" fmla="*/ 5778514 h 5863771"/>
              <a:gd name="connsiteX3" fmla="*/ 6727369 w 9574439"/>
              <a:gd name="connsiteY3" fmla="*/ 0 h 5863771"/>
              <a:gd name="connsiteX4" fmla="*/ 6832879 w 9574439"/>
              <a:gd name="connsiteY4" fmla="*/ 2668 h 5863771"/>
              <a:gd name="connsiteX5" fmla="*/ 6642772 w 9574439"/>
              <a:gd name="connsiteY5" fmla="*/ 7175 h 5863771"/>
              <a:gd name="connsiteX6" fmla="*/ 706335 w 9574439"/>
              <a:gd name="connsiteY6" fmla="*/ 5630272 h 5863771"/>
              <a:gd name="connsiteX7" fmla="*/ 688579 w 9574439"/>
              <a:gd name="connsiteY7" fmla="*/ 5863770 h 5863771"/>
              <a:gd name="connsiteX8" fmla="*/ 9574438 w 9574439"/>
              <a:gd name="connsiteY8" fmla="*/ 5863770 h 5863771"/>
              <a:gd name="connsiteX9" fmla="*/ 9574438 w 9574439"/>
              <a:gd name="connsiteY9" fmla="*/ 625693 h 5863771"/>
              <a:gd name="connsiteX10" fmla="*/ 9574439 w 9574439"/>
              <a:gd name="connsiteY10" fmla="*/ 625693 h 586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74439" h="5863771">
                <a:moveTo>
                  <a:pt x="9574439" y="5863771"/>
                </a:moveTo>
                <a:lnTo>
                  <a:pt x="0" y="5863771"/>
                </a:lnTo>
                <a:lnTo>
                  <a:pt x="10698" y="5778514"/>
                </a:lnTo>
                <a:cubicBezTo>
                  <a:pt x="499881" y="2508124"/>
                  <a:pt x="3320724" y="0"/>
                  <a:pt x="6727369" y="0"/>
                </a:cubicBezTo>
                <a:lnTo>
                  <a:pt x="6832879" y="2668"/>
                </a:lnTo>
                <a:lnTo>
                  <a:pt x="6642772" y="7175"/>
                </a:lnTo>
                <a:cubicBezTo>
                  <a:pt x="3533649" y="154917"/>
                  <a:pt x="1017462" y="2566659"/>
                  <a:pt x="706335" y="5630272"/>
                </a:cubicBezTo>
                <a:lnTo>
                  <a:pt x="688579" y="5863770"/>
                </a:lnTo>
                <a:lnTo>
                  <a:pt x="9574438" y="5863770"/>
                </a:lnTo>
                <a:lnTo>
                  <a:pt x="9574438" y="625693"/>
                </a:lnTo>
                <a:lnTo>
                  <a:pt x="9574439" y="625693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95000"/>
                </a:schemeClr>
              </a:gs>
              <a:gs pos="100000">
                <a:schemeClr val="accent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5CB337A-9852-35D1-A8E0-3E4F6AA3365D}"/>
              </a:ext>
            </a:extLst>
          </p:cNvPr>
          <p:cNvSpPr/>
          <p:nvPr userDrawn="1"/>
        </p:nvSpPr>
        <p:spPr>
          <a:xfrm rot="10800000">
            <a:off x="-1" y="0"/>
            <a:ext cx="8885859" cy="5863771"/>
          </a:xfrm>
          <a:custGeom>
            <a:avLst/>
            <a:gdLst>
              <a:gd name="connsiteX0" fmla="*/ 5148401 w 7311634"/>
              <a:gd name="connsiteY0" fmla="*/ 0 h 4824941"/>
              <a:gd name="connsiteX1" fmla="*/ 7157075 w 7311634"/>
              <a:gd name="connsiteY1" fmla="*/ 405533 h 4824941"/>
              <a:gd name="connsiteX2" fmla="*/ 7311634 w 7311634"/>
              <a:gd name="connsiteY2" fmla="*/ 475408 h 4824941"/>
              <a:gd name="connsiteX3" fmla="*/ 7311634 w 7311634"/>
              <a:gd name="connsiteY3" fmla="*/ 4824941 h 4824941"/>
              <a:gd name="connsiteX4" fmla="*/ 0 w 7311634"/>
              <a:gd name="connsiteY4" fmla="*/ 4824941 h 4824941"/>
              <a:gd name="connsiteX5" fmla="*/ 14610 w 7311634"/>
              <a:gd name="connsiteY5" fmla="*/ 4632810 h 4824941"/>
              <a:gd name="connsiteX6" fmla="*/ 5148401 w 7311634"/>
              <a:gd name="connsiteY6" fmla="*/ 0 h 4824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1634" h="4824941">
                <a:moveTo>
                  <a:pt x="5148401" y="0"/>
                </a:moveTo>
                <a:cubicBezTo>
                  <a:pt x="5860908" y="0"/>
                  <a:pt x="6539689" y="144401"/>
                  <a:pt x="7157075" y="405533"/>
                </a:cubicBezTo>
                <a:lnTo>
                  <a:pt x="7311634" y="475408"/>
                </a:lnTo>
                <a:lnTo>
                  <a:pt x="7311634" y="4824941"/>
                </a:lnTo>
                <a:lnTo>
                  <a:pt x="0" y="4824941"/>
                </a:lnTo>
                <a:lnTo>
                  <a:pt x="14610" y="4632810"/>
                </a:lnTo>
                <a:cubicBezTo>
                  <a:pt x="278876" y="2030630"/>
                  <a:pt x="2476499" y="0"/>
                  <a:pt x="5148401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80000"/>
                </a:schemeClr>
              </a:gs>
              <a:gs pos="100000">
                <a:schemeClr val="bg1">
                  <a:alpha val="5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4FE008-8EEF-1733-725C-156BF741A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915551"/>
            <a:ext cx="7231062" cy="2035175"/>
          </a:xfrm>
        </p:spPr>
        <p:txBody>
          <a:bodyPr anchor="b">
            <a:noAutofit/>
          </a:bodyPr>
          <a:lstStyle>
            <a:lvl1pPr>
              <a:defRPr sz="4000">
                <a:gradFill flip="none"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5093F1-D29B-4262-0476-B873B3F1A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9" y="3207821"/>
            <a:ext cx="6030004" cy="852571"/>
          </a:xfrm>
        </p:spPr>
        <p:txBody>
          <a:bodyPr>
            <a:noAutofit/>
          </a:bodyPr>
          <a:lstStyle>
            <a:lvl1pPr marL="0" indent="0">
              <a:buNone/>
              <a:defRPr sz="2000" b="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6CCF1FA-B284-80B6-8C68-416F41CC1C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15938" y="368300"/>
            <a:ext cx="1789641" cy="46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9535452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764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7129059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2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3521248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27C6A6D3-F04A-38C0-E6E5-6CC862CE57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270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C6A6D3-F04A-38C0-E6E5-6CC862CE57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73E4502C-F866-D7DD-84E5-949A7ACB92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4580468"/>
            <a:ext cx="11082528" cy="677108"/>
          </a:xfrm>
        </p:spPr>
        <p:txBody>
          <a:bodyPr/>
          <a:lstStyle/>
          <a:p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4745607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719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2241083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1/4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1054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5073758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1/3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3615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5918868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1/2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8720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5065776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5065776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555228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2/3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00519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69677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69677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2851534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3/4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7440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73" imgH="473" progId="TCLayout.ActiveDocument.1">
                  <p:embed/>
                </p:oleObj>
              </mc:Choice>
              <mc:Fallback>
                <p:oleObj name="think-cell Slide" r:id="rId10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72212"/>
            <a:ext cx="7918704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19250"/>
            <a:ext cx="7918704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solidFill>
                  <a:schemeClr val="bg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1097235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3-line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155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566064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erial view of a park with a winding road&#10;&#10;Description automatically generated">
            <a:extLst>
              <a:ext uri="{FF2B5EF4-FFF2-40B4-BE49-F238E27FC236}">
                <a16:creationId xmlns:a16="http://schemas.microsoft.com/office/drawing/2014/main" id="{883E223B-E465-C096-A060-F46A5E4C01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67"/>
          <a:stretch/>
        </p:blipFill>
        <p:spPr>
          <a:xfrm>
            <a:off x="2" y="0"/>
            <a:ext cx="12191999" cy="6858000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1999" h="6858000">
                <a:moveTo>
                  <a:pt x="0" y="0"/>
                </a:moveTo>
                <a:lnTo>
                  <a:pt x="12191999" y="0"/>
                </a:lnTo>
                <a:lnTo>
                  <a:pt x="12191999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 descr="Aerial view of a park with a winding road&#10;&#10;Description automatically generated">
            <a:extLst>
              <a:ext uri="{FF2B5EF4-FFF2-40B4-BE49-F238E27FC236}">
                <a16:creationId xmlns:a16="http://schemas.microsoft.com/office/drawing/2014/main" id="{8C0C9469-9E77-F9D9-33BD-CA3A531292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-100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0" r="21470" b="27824"/>
          <a:stretch/>
        </p:blipFill>
        <p:spPr>
          <a:xfrm>
            <a:off x="2" y="1"/>
            <a:ext cx="9574435" cy="5863769"/>
          </a:xfrm>
          <a:custGeom>
            <a:avLst/>
            <a:gdLst>
              <a:gd name="connsiteX0" fmla="*/ 3516612 w 9574438"/>
              <a:gd name="connsiteY0" fmla="*/ 5801231 h 5863770"/>
              <a:gd name="connsiteX1" fmla="*/ 3322789 w 9574438"/>
              <a:gd name="connsiteY1" fmla="*/ 5824311 h 5863770"/>
              <a:gd name="connsiteX2" fmla="*/ 3507285 w 9574438"/>
              <a:gd name="connsiteY2" fmla="*/ 5802756 h 5863770"/>
              <a:gd name="connsiteX3" fmla="*/ 3802913 w 9574438"/>
              <a:gd name="connsiteY3" fmla="*/ 5753775 h 5863770"/>
              <a:gd name="connsiteX4" fmla="*/ 3631097 w 9574438"/>
              <a:gd name="connsiteY4" fmla="*/ 5782515 h 5863770"/>
              <a:gd name="connsiteX5" fmla="*/ 3789145 w 9574438"/>
              <a:gd name="connsiteY5" fmla="*/ 5756676 h 5863770"/>
              <a:gd name="connsiteX6" fmla="*/ 4084691 w 9574438"/>
              <a:gd name="connsiteY6" fmla="*/ 5693550 h 5863770"/>
              <a:gd name="connsiteX7" fmla="*/ 3923623 w 9574438"/>
              <a:gd name="connsiteY7" fmla="*/ 5728346 h 5863770"/>
              <a:gd name="connsiteX8" fmla="*/ 4066645 w 9574438"/>
              <a:gd name="connsiteY8" fmla="*/ 5698216 h 5863770"/>
              <a:gd name="connsiteX9" fmla="*/ 4361639 w 9574438"/>
              <a:gd name="connsiteY9" fmla="*/ 5620863 h 5863770"/>
              <a:gd name="connsiteX10" fmla="*/ 4207686 w 9574438"/>
              <a:gd name="connsiteY10" fmla="*/ 5661749 h 5863770"/>
              <a:gd name="connsiteX11" fmla="*/ 4339490 w 9574438"/>
              <a:gd name="connsiteY11" fmla="*/ 5627671 h 5863770"/>
              <a:gd name="connsiteX12" fmla="*/ 4633447 w 9574438"/>
              <a:gd name="connsiteY12" fmla="*/ 5536025 h 5863770"/>
              <a:gd name="connsiteX13" fmla="*/ 4485041 w 9574438"/>
              <a:gd name="connsiteY13" fmla="*/ 5582937 h 5863770"/>
              <a:gd name="connsiteX14" fmla="*/ 4607385 w 9574438"/>
              <a:gd name="connsiteY14" fmla="*/ 5545336 h 5863770"/>
              <a:gd name="connsiteX15" fmla="*/ 4899809 w 9574438"/>
              <a:gd name="connsiteY15" fmla="*/ 5439344 h 5863770"/>
              <a:gd name="connsiteX16" fmla="*/ 4756171 w 9574438"/>
              <a:gd name="connsiteY16" fmla="*/ 5492184 h 5863770"/>
              <a:gd name="connsiteX17" fmla="*/ 4870035 w 9574438"/>
              <a:gd name="connsiteY17" fmla="*/ 5451507 h 5863770"/>
              <a:gd name="connsiteX18" fmla="*/ 5160408 w 9574438"/>
              <a:gd name="connsiteY18" fmla="*/ 5331131 h 5863770"/>
              <a:gd name="connsiteX19" fmla="*/ 5021149 w 9574438"/>
              <a:gd name="connsiteY19" fmla="*/ 5389777 h 5863770"/>
              <a:gd name="connsiteX20" fmla="*/ 5127144 w 9574438"/>
              <a:gd name="connsiteY20" fmla="*/ 5346478 h 5863770"/>
              <a:gd name="connsiteX21" fmla="*/ 5414942 w 9574438"/>
              <a:gd name="connsiteY21" fmla="*/ 5211692 h 5863770"/>
              <a:gd name="connsiteX22" fmla="*/ 5279864 w 9574438"/>
              <a:gd name="connsiteY22" fmla="*/ 5276016 h 5863770"/>
              <a:gd name="connsiteX23" fmla="*/ 5378417 w 9574438"/>
              <a:gd name="connsiteY23" fmla="*/ 5230546 h 5863770"/>
              <a:gd name="connsiteX24" fmla="*/ 5663097 w 9574438"/>
              <a:gd name="connsiteY24" fmla="*/ 5081337 h 5863770"/>
              <a:gd name="connsiteX25" fmla="*/ 5532114 w 9574438"/>
              <a:gd name="connsiteY25" fmla="*/ 5151208 h 5863770"/>
              <a:gd name="connsiteX26" fmla="*/ 5623559 w 9574438"/>
              <a:gd name="connsiteY26" fmla="*/ 5104004 h 5863770"/>
              <a:gd name="connsiteX27" fmla="*/ 5904568 w 9574438"/>
              <a:gd name="connsiteY27" fmla="*/ 4940374 h 5863770"/>
              <a:gd name="connsiteX28" fmla="*/ 5777664 w 9574438"/>
              <a:gd name="connsiteY28" fmla="*/ 5015656 h 5863770"/>
              <a:gd name="connsiteX29" fmla="*/ 5862275 w 9574438"/>
              <a:gd name="connsiteY29" fmla="*/ 4967149 h 5863770"/>
              <a:gd name="connsiteX30" fmla="*/ 6139048 w 9574438"/>
              <a:gd name="connsiteY30" fmla="*/ 4789108 h 5863770"/>
              <a:gd name="connsiteX31" fmla="*/ 6016247 w 9574438"/>
              <a:gd name="connsiteY31" fmla="*/ 4869671 h 5863770"/>
              <a:gd name="connsiteX32" fmla="*/ 6094270 w 9574438"/>
              <a:gd name="connsiteY32" fmla="*/ 4820275 h 5863770"/>
              <a:gd name="connsiteX33" fmla="*/ 6366223 w 9574438"/>
              <a:gd name="connsiteY33" fmla="*/ 4627849 h 5863770"/>
              <a:gd name="connsiteX34" fmla="*/ 6247586 w 9574438"/>
              <a:gd name="connsiteY34" fmla="*/ 4713559 h 5863770"/>
              <a:gd name="connsiteX35" fmla="*/ 6319249 w 9574438"/>
              <a:gd name="connsiteY35" fmla="*/ 4663678 h 5863770"/>
              <a:gd name="connsiteX36" fmla="*/ 6585787 w 9574438"/>
              <a:gd name="connsiteY36" fmla="*/ 4456901 h 5863770"/>
              <a:gd name="connsiteX37" fmla="*/ 6471399 w 9574438"/>
              <a:gd name="connsiteY37" fmla="*/ 4547626 h 5863770"/>
              <a:gd name="connsiteX38" fmla="*/ 6536916 w 9574438"/>
              <a:gd name="connsiteY38" fmla="*/ 4497653 h 5863770"/>
              <a:gd name="connsiteX39" fmla="*/ 6797433 w 9574438"/>
              <a:gd name="connsiteY39" fmla="*/ 4276570 h 5863770"/>
              <a:gd name="connsiteX40" fmla="*/ 6687386 w 9574438"/>
              <a:gd name="connsiteY40" fmla="*/ 4372183 h 5863770"/>
              <a:gd name="connsiteX41" fmla="*/ 6746976 w 9574438"/>
              <a:gd name="connsiteY41" fmla="*/ 4322494 h 5863770"/>
              <a:gd name="connsiteX42" fmla="*/ 7000847 w 9574438"/>
              <a:gd name="connsiteY42" fmla="*/ 4087163 h 5863770"/>
              <a:gd name="connsiteX43" fmla="*/ 6895256 w 9574438"/>
              <a:gd name="connsiteY43" fmla="*/ 4187535 h 5863770"/>
              <a:gd name="connsiteX44" fmla="*/ 6949133 w 9574438"/>
              <a:gd name="connsiteY44" fmla="*/ 4138498 h 5863770"/>
              <a:gd name="connsiteX45" fmla="*/ 7195727 w 9574438"/>
              <a:gd name="connsiteY45" fmla="*/ 3888980 h 5863770"/>
              <a:gd name="connsiteX46" fmla="*/ 7094706 w 9574438"/>
              <a:gd name="connsiteY46" fmla="*/ 3993992 h 5863770"/>
              <a:gd name="connsiteX47" fmla="*/ 7143094 w 9574438"/>
              <a:gd name="connsiteY47" fmla="*/ 3945960 h 5863770"/>
              <a:gd name="connsiteX48" fmla="*/ 7381761 w 9574438"/>
              <a:gd name="connsiteY48" fmla="*/ 3682322 h 5863770"/>
              <a:gd name="connsiteX49" fmla="*/ 7285433 w 9574438"/>
              <a:gd name="connsiteY49" fmla="*/ 3791865 h 5863770"/>
              <a:gd name="connsiteX50" fmla="*/ 7328562 w 9574438"/>
              <a:gd name="connsiteY50" fmla="*/ 3745174 h 5863770"/>
              <a:gd name="connsiteX51" fmla="*/ 7558646 w 9574438"/>
              <a:gd name="connsiteY51" fmla="*/ 3467483 h 5863770"/>
              <a:gd name="connsiteX52" fmla="*/ 7467134 w 9574438"/>
              <a:gd name="connsiteY52" fmla="*/ 3581459 h 5863770"/>
              <a:gd name="connsiteX53" fmla="*/ 7505242 w 9574438"/>
              <a:gd name="connsiteY53" fmla="*/ 3536435 h 5863770"/>
              <a:gd name="connsiteX54" fmla="*/ 7694773 w 9574438"/>
              <a:gd name="connsiteY54" fmla="*/ 3287540 h 5863770"/>
              <a:gd name="connsiteX55" fmla="*/ 7639500 w 9574438"/>
              <a:gd name="connsiteY55" fmla="*/ 3363088 h 5863770"/>
              <a:gd name="connsiteX56" fmla="*/ 7672840 w 9574438"/>
              <a:gd name="connsiteY56" fmla="*/ 3320040 h 5863770"/>
              <a:gd name="connsiteX57" fmla="*/ 8108382 w 9574438"/>
              <a:gd name="connsiteY57" fmla="*/ 2633055 h 5863770"/>
              <a:gd name="connsiteX58" fmla="*/ 7954251 w 9574438"/>
              <a:gd name="connsiteY58" fmla="*/ 2903031 h 5863770"/>
              <a:gd name="connsiteX59" fmla="*/ 7979606 w 9574438"/>
              <a:gd name="connsiteY59" fmla="*/ 2865459 h 5863770"/>
              <a:gd name="connsiteX60" fmla="*/ 8362048 w 9574438"/>
              <a:gd name="connsiteY60" fmla="*/ 2123338 h 5863770"/>
              <a:gd name="connsiteX61" fmla="*/ 8228829 w 9574438"/>
              <a:gd name="connsiteY61" fmla="*/ 2415681 h 5863770"/>
              <a:gd name="connsiteX62" fmla="*/ 8246499 w 9574438"/>
              <a:gd name="connsiteY62" fmla="*/ 2383793 h 5863770"/>
              <a:gd name="connsiteX63" fmla="*/ 8481861 w 9574438"/>
              <a:gd name="connsiteY63" fmla="*/ 1845965 h 5863770"/>
              <a:gd name="connsiteX64" fmla="*/ 8464193 w 9574438"/>
              <a:gd name="connsiteY64" fmla="*/ 1893097 h 5863770"/>
              <a:gd name="connsiteX65" fmla="*/ 8471156 w 9574438"/>
              <a:gd name="connsiteY65" fmla="*/ 1877402 h 5863770"/>
              <a:gd name="connsiteX66" fmla="*/ 8688629 w 9574438"/>
              <a:gd name="connsiteY66" fmla="*/ 1208410 h 5863770"/>
              <a:gd name="connsiteX67" fmla="*/ 8647389 w 9574438"/>
              <a:gd name="connsiteY67" fmla="*/ 1359890 h 5863770"/>
              <a:gd name="connsiteX68" fmla="*/ 8651217 w 9574438"/>
              <a:gd name="connsiteY68" fmla="*/ 1348648 h 5863770"/>
              <a:gd name="connsiteX69" fmla="*/ 8757743 w 9574438"/>
              <a:gd name="connsiteY69" fmla="*/ 921387 h 5863770"/>
              <a:gd name="connsiteX70" fmla="*/ 8720186 w 9574438"/>
              <a:gd name="connsiteY70" fmla="*/ 1090117 h 5863770"/>
              <a:gd name="connsiteX71" fmla="*/ 8723786 w 9574438"/>
              <a:gd name="connsiteY71" fmla="*/ 1076623 h 5863770"/>
              <a:gd name="connsiteX72" fmla="*/ 8815440 w 9574438"/>
              <a:gd name="connsiteY72" fmla="*/ 618393 h 5863770"/>
              <a:gd name="connsiteX73" fmla="*/ 8782316 w 9574438"/>
              <a:gd name="connsiteY73" fmla="*/ 809051 h 5863770"/>
              <a:gd name="connsiteX74" fmla="*/ 8784320 w 9574438"/>
              <a:gd name="connsiteY74" fmla="*/ 799893 h 5863770"/>
              <a:gd name="connsiteX75" fmla="*/ 0 w 9574438"/>
              <a:gd name="connsiteY75" fmla="*/ 0 h 5863770"/>
              <a:gd name="connsiteX76" fmla="*/ 8885858 w 9574438"/>
              <a:gd name="connsiteY76" fmla="*/ 0 h 5863770"/>
              <a:gd name="connsiteX77" fmla="*/ 8868102 w 9574438"/>
              <a:gd name="connsiteY77" fmla="*/ 233497 h 5863770"/>
              <a:gd name="connsiteX78" fmla="*/ 8831724 w 9574438"/>
              <a:gd name="connsiteY78" fmla="*/ 523416 h 5863770"/>
              <a:gd name="connsiteX79" fmla="*/ 8832524 w 9574438"/>
              <a:gd name="connsiteY79" fmla="*/ 518753 h 5863770"/>
              <a:gd name="connsiteX80" fmla="*/ 8868103 w 9574438"/>
              <a:gd name="connsiteY80" fmla="*/ 233498 h 5863770"/>
              <a:gd name="connsiteX81" fmla="*/ 8885859 w 9574438"/>
              <a:gd name="connsiteY81" fmla="*/ 1 h 5863770"/>
              <a:gd name="connsiteX82" fmla="*/ 9574438 w 9574438"/>
              <a:gd name="connsiteY82" fmla="*/ 1 h 5863770"/>
              <a:gd name="connsiteX83" fmla="*/ 9563740 w 9574438"/>
              <a:gd name="connsiteY83" fmla="*/ 85256 h 5863770"/>
              <a:gd name="connsiteX84" fmla="*/ 2847069 w 9574438"/>
              <a:gd name="connsiteY84" fmla="*/ 5863770 h 5863770"/>
              <a:gd name="connsiteX85" fmla="*/ 2741559 w 9574438"/>
              <a:gd name="connsiteY85" fmla="*/ 5861102 h 5863770"/>
              <a:gd name="connsiteX86" fmla="*/ 2931666 w 9574438"/>
              <a:gd name="connsiteY86" fmla="*/ 5856595 h 5863770"/>
              <a:gd name="connsiteX87" fmla="*/ 3221360 w 9574438"/>
              <a:gd name="connsiteY87" fmla="*/ 5836161 h 5863770"/>
              <a:gd name="connsiteX88" fmla="*/ 3226101 w 9574438"/>
              <a:gd name="connsiteY88" fmla="*/ 5835607 h 5863770"/>
              <a:gd name="connsiteX89" fmla="*/ 2931665 w 9574438"/>
              <a:gd name="connsiteY89" fmla="*/ 5856594 h 5863770"/>
              <a:gd name="connsiteX90" fmla="*/ 2628985 w 9574438"/>
              <a:gd name="connsiteY90" fmla="*/ 5863770 h 5863770"/>
              <a:gd name="connsiteX91" fmla="*/ 187835 w 9574438"/>
              <a:gd name="connsiteY91" fmla="*/ 5370924 h 5863770"/>
              <a:gd name="connsiteX92" fmla="*/ 0 w 9574438"/>
              <a:gd name="connsiteY92" fmla="*/ 5286005 h 58637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</a:cxnLst>
            <a:rect l="l" t="t" r="r" b="b"/>
            <a:pathLst>
              <a:path w="9574438" h="5863770">
                <a:moveTo>
                  <a:pt x="3516612" y="5801231"/>
                </a:moveTo>
                <a:lnTo>
                  <a:pt x="3322789" y="5824311"/>
                </a:lnTo>
                <a:lnTo>
                  <a:pt x="3507285" y="5802756"/>
                </a:lnTo>
                <a:close/>
                <a:moveTo>
                  <a:pt x="3802913" y="5753775"/>
                </a:moveTo>
                <a:lnTo>
                  <a:pt x="3631097" y="5782515"/>
                </a:lnTo>
                <a:lnTo>
                  <a:pt x="3789145" y="5756676"/>
                </a:lnTo>
                <a:close/>
                <a:moveTo>
                  <a:pt x="4084691" y="5693550"/>
                </a:moveTo>
                <a:lnTo>
                  <a:pt x="3923623" y="5728346"/>
                </a:lnTo>
                <a:lnTo>
                  <a:pt x="4066645" y="5698216"/>
                </a:lnTo>
                <a:close/>
                <a:moveTo>
                  <a:pt x="4361639" y="5620863"/>
                </a:moveTo>
                <a:lnTo>
                  <a:pt x="4207686" y="5661749"/>
                </a:lnTo>
                <a:lnTo>
                  <a:pt x="4339490" y="5627671"/>
                </a:lnTo>
                <a:close/>
                <a:moveTo>
                  <a:pt x="4633447" y="5536025"/>
                </a:moveTo>
                <a:lnTo>
                  <a:pt x="4485041" y="5582937"/>
                </a:lnTo>
                <a:lnTo>
                  <a:pt x="4607385" y="5545336"/>
                </a:lnTo>
                <a:close/>
                <a:moveTo>
                  <a:pt x="4899809" y="5439344"/>
                </a:moveTo>
                <a:lnTo>
                  <a:pt x="4756171" y="5492184"/>
                </a:lnTo>
                <a:lnTo>
                  <a:pt x="4870035" y="5451507"/>
                </a:lnTo>
                <a:close/>
                <a:moveTo>
                  <a:pt x="5160408" y="5331131"/>
                </a:moveTo>
                <a:lnTo>
                  <a:pt x="5021149" y="5389777"/>
                </a:lnTo>
                <a:lnTo>
                  <a:pt x="5127144" y="5346478"/>
                </a:lnTo>
                <a:close/>
                <a:moveTo>
                  <a:pt x="5414942" y="5211692"/>
                </a:moveTo>
                <a:lnTo>
                  <a:pt x="5279864" y="5276016"/>
                </a:lnTo>
                <a:lnTo>
                  <a:pt x="5378417" y="5230546"/>
                </a:lnTo>
                <a:close/>
                <a:moveTo>
                  <a:pt x="5663097" y="5081337"/>
                </a:moveTo>
                <a:lnTo>
                  <a:pt x="5532114" y="5151208"/>
                </a:lnTo>
                <a:lnTo>
                  <a:pt x="5623559" y="5104004"/>
                </a:lnTo>
                <a:close/>
                <a:moveTo>
                  <a:pt x="5904568" y="4940374"/>
                </a:moveTo>
                <a:lnTo>
                  <a:pt x="5777664" y="5015656"/>
                </a:lnTo>
                <a:lnTo>
                  <a:pt x="5862275" y="4967149"/>
                </a:lnTo>
                <a:close/>
                <a:moveTo>
                  <a:pt x="6139048" y="4789108"/>
                </a:moveTo>
                <a:lnTo>
                  <a:pt x="6016247" y="4869671"/>
                </a:lnTo>
                <a:lnTo>
                  <a:pt x="6094270" y="4820275"/>
                </a:lnTo>
                <a:close/>
                <a:moveTo>
                  <a:pt x="6366223" y="4627849"/>
                </a:moveTo>
                <a:lnTo>
                  <a:pt x="6247586" y="4713559"/>
                </a:lnTo>
                <a:lnTo>
                  <a:pt x="6319249" y="4663678"/>
                </a:lnTo>
                <a:close/>
                <a:moveTo>
                  <a:pt x="6585787" y="4456901"/>
                </a:moveTo>
                <a:lnTo>
                  <a:pt x="6471399" y="4547626"/>
                </a:lnTo>
                <a:lnTo>
                  <a:pt x="6536916" y="4497653"/>
                </a:lnTo>
                <a:close/>
                <a:moveTo>
                  <a:pt x="6797433" y="4276570"/>
                </a:moveTo>
                <a:lnTo>
                  <a:pt x="6687386" y="4372183"/>
                </a:lnTo>
                <a:lnTo>
                  <a:pt x="6746976" y="4322494"/>
                </a:lnTo>
                <a:close/>
                <a:moveTo>
                  <a:pt x="7000847" y="4087163"/>
                </a:moveTo>
                <a:lnTo>
                  <a:pt x="6895256" y="4187535"/>
                </a:lnTo>
                <a:lnTo>
                  <a:pt x="6949133" y="4138498"/>
                </a:lnTo>
                <a:close/>
                <a:moveTo>
                  <a:pt x="7195727" y="3888980"/>
                </a:moveTo>
                <a:lnTo>
                  <a:pt x="7094706" y="3993992"/>
                </a:lnTo>
                <a:lnTo>
                  <a:pt x="7143094" y="3945960"/>
                </a:lnTo>
                <a:close/>
                <a:moveTo>
                  <a:pt x="7381761" y="3682322"/>
                </a:moveTo>
                <a:lnTo>
                  <a:pt x="7285433" y="3791865"/>
                </a:lnTo>
                <a:lnTo>
                  <a:pt x="7328562" y="3745174"/>
                </a:lnTo>
                <a:close/>
                <a:moveTo>
                  <a:pt x="7558646" y="3467483"/>
                </a:moveTo>
                <a:lnTo>
                  <a:pt x="7467134" y="3581459"/>
                </a:lnTo>
                <a:lnTo>
                  <a:pt x="7505242" y="3536435"/>
                </a:lnTo>
                <a:close/>
                <a:moveTo>
                  <a:pt x="7694773" y="3287540"/>
                </a:moveTo>
                <a:lnTo>
                  <a:pt x="7639500" y="3363088"/>
                </a:lnTo>
                <a:lnTo>
                  <a:pt x="7672840" y="3320040"/>
                </a:lnTo>
                <a:close/>
                <a:moveTo>
                  <a:pt x="8108382" y="2633055"/>
                </a:moveTo>
                <a:lnTo>
                  <a:pt x="7954251" y="2903031"/>
                </a:lnTo>
                <a:lnTo>
                  <a:pt x="7979606" y="2865459"/>
                </a:lnTo>
                <a:close/>
                <a:moveTo>
                  <a:pt x="8362048" y="2123338"/>
                </a:moveTo>
                <a:lnTo>
                  <a:pt x="8228829" y="2415681"/>
                </a:lnTo>
                <a:lnTo>
                  <a:pt x="8246499" y="2383793"/>
                </a:lnTo>
                <a:close/>
                <a:moveTo>
                  <a:pt x="8481861" y="1845965"/>
                </a:moveTo>
                <a:lnTo>
                  <a:pt x="8464193" y="1893097"/>
                </a:lnTo>
                <a:lnTo>
                  <a:pt x="8471156" y="1877402"/>
                </a:lnTo>
                <a:close/>
                <a:moveTo>
                  <a:pt x="8688629" y="1208410"/>
                </a:moveTo>
                <a:lnTo>
                  <a:pt x="8647389" y="1359890"/>
                </a:lnTo>
                <a:lnTo>
                  <a:pt x="8651217" y="1348648"/>
                </a:lnTo>
                <a:close/>
                <a:moveTo>
                  <a:pt x="8757743" y="921387"/>
                </a:moveTo>
                <a:lnTo>
                  <a:pt x="8720186" y="1090117"/>
                </a:lnTo>
                <a:lnTo>
                  <a:pt x="8723786" y="1076623"/>
                </a:lnTo>
                <a:close/>
                <a:moveTo>
                  <a:pt x="8815440" y="618393"/>
                </a:moveTo>
                <a:lnTo>
                  <a:pt x="8782316" y="809051"/>
                </a:lnTo>
                <a:lnTo>
                  <a:pt x="8784320" y="799893"/>
                </a:lnTo>
                <a:close/>
                <a:moveTo>
                  <a:pt x="0" y="0"/>
                </a:moveTo>
                <a:lnTo>
                  <a:pt x="8885858" y="0"/>
                </a:lnTo>
                <a:lnTo>
                  <a:pt x="8868102" y="233497"/>
                </a:lnTo>
                <a:lnTo>
                  <a:pt x="8831724" y="523416"/>
                </a:lnTo>
                <a:lnTo>
                  <a:pt x="8832524" y="518753"/>
                </a:lnTo>
                <a:cubicBezTo>
                  <a:pt x="8846504" y="424337"/>
                  <a:pt x="8858380" y="329236"/>
                  <a:pt x="8868103" y="233498"/>
                </a:cubicBezTo>
                <a:lnTo>
                  <a:pt x="8885859" y="1"/>
                </a:lnTo>
                <a:lnTo>
                  <a:pt x="9574438" y="1"/>
                </a:lnTo>
                <a:lnTo>
                  <a:pt x="9563740" y="85256"/>
                </a:lnTo>
                <a:cubicBezTo>
                  <a:pt x="9074557" y="3355646"/>
                  <a:pt x="6253714" y="5863770"/>
                  <a:pt x="2847069" y="5863770"/>
                </a:cubicBezTo>
                <a:lnTo>
                  <a:pt x="2741559" y="5861102"/>
                </a:lnTo>
                <a:lnTo>
                  <a:pt x="2931666" y="5856595"/>
                </a:lnTo>
                <a:cubicBezTo>
                  <a:pt x="3028826" y="5851978"/>
                  <a:pt x="3125407" y="5845150"/>
                  <a:pt x="3221360" y="5836161"/>
                </a:cubicBezTo>
                <a:lnTo>
                  <a:pt x="3226101" y="5835607"/>
                </a:lnTo>
                <a:lnTo>
                  <a:pt x="2931665" y="5856594"/>
                </a:lnTo>
                <a:cubicBezTo>
                  <a:pt x="2831371" y="5861360"/>
                  <a:pt x="2730459" y="5863770"/>
                  <a:pt x="2628985" y="5863770"/>
                </a:cubicBezTo>
                <a:cubicBezTo>
                  <a:pt x="1763073" y="5863770"/>
                  <a:pt x="938147" y="5688279"/>
                  <a:pt x="187835" y="5370924"/>
                </a:cubicBezTo>
                <a:lnTo>
                  <a:pt x="0" y="5286005"/>
                </a:lnTo>
                <a:close/>
              </a:path>
            </a:pathLst>
          </a:custGeom>
          <a:effectLst>
            <a:outerShdw blurRad="254000" algn="ctr" rotWithShape="0">
              <a:prstClr val="black">
                <a:alpha val="10000"/>
              </a:prstClr>
            </a:outerShdw>
          </a:effectLst>
        </p:spPr>
      </p:pic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3D9E990-C112-10F6-8C49-677EFBCFD1C3}"/>
              </a:ext>
            </a:extLst>
          </p:cNvPr>
          <p:cNvSpPr/>
          <p:nvPr userDrawn="1"/>
        </p:nvSpPr>
        <p:spPr>
          <a:xfrm rot="10800000">
            <a:off x="-2" y="0"/>
            <a:ext cx="9574439" cy="5863771"/>
          </a:xfrm>
          <a:custGeom>
            <a:avLst/>
            <a:gdLst>
              <a:gd name="connsiteX0" fmla="*/ 9574439 w 9574439"/>
              <a:gd name="connsiteY0" fmla="*/ 5863771 h 5863771"/>
              <a:gd name="connsiteX1" fmla="*/ 0 w 9574439"/>
              <a:gd name="connsiteY1" fmla="*/ 5863771 h 5863771"/>
              <a:gd name="connsiteX2" fmla="*/ 10698 w 9574439"/>
              <a:gd name="connsiteY2" fmla="*/ 5778514 h 5863771"/>
              <a:gd name="connsiteX3" fmla="*/ 6727369 w 9574439"/>
              <a:gd name="connsiteY3" fmla="*/ 0 h 5863771"/>
              <a:gd name="connsiteX4" fmla="*/ 6832879 w 9574439"/>
              <a:gd name="connsiteY4" fmla="*/ 2668 h 5863771"/>
              <a:gd name="connsiteX5" fmla="*/ 6642772 w 9574439"/>
              <a:gd name="connsiteY5" fmla="*/ 7175 h 5863771"/>
              <a:gd name="connsiteX6" fmla="*/ 706335 w 9574439"/>
              <a:gd name="connsiteY6" fmla="*/ 5630272 h 5863771"/>
              <a:gd name="connsiteX7" fmla="*/ 688579 w 9574439"/>
              <a:gd name="connsiteY7" fmla="*/ 5863770 h 5863771"/>
              <a:gd name="connsiteX8" fmla="*/ 9574438 w 9574439"/>
              <a:gd name="connsiteY8" fmla="*/ 5863770 h 5863771"/>
              <a:gd name="connsiteX9" fmla="*/ 9574438 w 9574439"/>
              <a:gd name="connsiteY9" fmla="*/ 625693 h 5863771"/>
              <a:gd name="connsiteX10" fmla="*/ 9574439 w 9574439"/>
              <a:gd name="connsiteY10" fmla="*/ 625693 h 586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74439" h="5863771">
                <a:moveTo>
                  <a:pt x="9574439" y="5863771"/>
                </a:moveTo>
                <a:lnTo>
                  <a:pt x="0" y="5863771"/>
                </a:lnTo>
                <a:lnTo>
                  <a:pt x="10698" y="5778514"/>
                </a:lnTo>
                <a:cubicBezTo>
                  <a:pt x="499881" y="2508124"/>
                  <a:pt x="3320724" y="0"/>
                  <a:pt x="6727369" y="0"/>
                </a:cubicBezTo>
                <a:lnTo>
                  <a:pt x="6832879" y="2668"/>
                </a:lnTo>
                <a:lnTo>
                  <a:pt x="6642772" y="7175"/>
                </a:lnTo>
                <a:cubicBezTo>
                  <a:pt x="3533649" y="154917"/>
                  <a:pt x="1017462" y="2566659"/>
                  <a:pt x="706335" y="5630272"/>
                </a:cubicBezTo>
                <a:lnTo>
                  <a:pt x="688579" y="5863770"/>
                </a:lnTo>
                <a:lnTo>
                  <a:pt x="9574438" y="5863770"/>
                </a:lnTo>
                <a:lnTo>
                  <a:pt x="9574438" y="625693"/>
                </a:lnTo>
                <a:lnTo>
                  <a:pt x="9574439" y="625693"/>
                </a:lnTo>
                <a:close/>
              </a:path>
            </a:pathLst>
          </a:custGeom>
          <a:gradFill flip="none" rotWithShape="1">
            <a:gsLst>
              <a:gs pos="0">
                <a:schemeClr val="tx2">
                  <a:alpha val="95000"/>
                </a:schemeClr>
              </a:gs>
              <a:gs pos="100000">
                <a:schemeClr val="accent1">
                  <a:alpha val="50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5CB337A-9852-35D1-A8E0-3E4F6AA3365D}"/>
              </a:ext>
            </a:extLst>
          </p:cNvPr>
          <p:cNvSpPr/>
          <p:nvPr userDrawn="1"/>
        </p:nvSpPr>
        <p:spPr>
          <a:xfrm rot="10800000">
            <a:off x="-1" y="0"/>
            <a:ext cx="8885859" cy="5863771"/>
          </a:xfrm>
          <a:custGeom>
            <a:avLst/>
            <a:gdLst>
              <a:gd name="connsiteX0" fmla="*/ 5148401 w 7311634"/>
              <a:gd name="connsiteY0" fmla="*/ 0 h 4824941"/>
              <a:gd name="connsiteX1" fmla="*/ 7157075 w 7311634"/>
              <a:gd name="connsiteY1" fmla="*/ 405533 h 4824941"/>
              <a:gd name="connsiteX2" fmla="*/ 7311634 w 7311634"/>
              <a:gd name="connsiteY2" fmla="*/ 475408 h 4824941"/>
              <a:gd name="connsiteX3" fmla="*/ 7311634 w 7311634"/>
              <a:gd name="connsiteY3" fmla="*/ 4824941 h 4824941"/>
              <a:gd name="connsiteX4" fmla="*/ 0 w 7311634"/>
              <a:gd name="connsiteY4" fmla="*/ 4824941 h 4824941"/>
              <a:gd name="connsiteX5" fmla="*/ 14610 w 7311634"/>
              <a:gd name="connsiteY5" fmla="*/ 4632810 h 4824941"/>
              <a:gd name="connsiteX6" fmla="*/ 5148401 w 7311634"/>
              <a:gd name="connsiteY6" fmla="*/ 0 h 4824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1634" h="4824941">
                <a:moveTo>
                  <a:pt x="5148401" y="0"/>
                </a:moveTo>
                <a:cubicBezTo>
                  <a:pt x="5860908" y="0"/>
                  <a:pt x="6539689" y="144401"/>
                  <a:pt x="7157075" y="405533"/>
                </a:cubicBezTo>
                <a:lnTo>
                  <a:pt x="7311634" y="475408"/>
                </a:lnTo>
                <a:lnTo>
                  <a:pt x="7311634" y="4824941"/>
                </a:lnTo>
                <a:lnTo>
                  <a:pt x="0" y="4824941"/>
                </a:lnTo>
                <a:lnTo>
                  <a:pt x="14610" y="4632810"/>
                </a:lnTo>
                <a:cubicBezTo>
                  <a:pt x="278876" y="2030630"/>
                  <a:pt x="2476499" y="0"/>
                  <a:pt x="5148401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>
                  <a:alpha val="90000"/>
                </a:schemeClr>
              </a:gs>
              <a:gs pos="100000">
                <a:schemeClr val="bg1">
                  <a:alpha val="50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4FE008-8EEF-1733-725C-156BF741A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915551"/>
            <a:ext cx="7231062" cy="2035175"/>
          </a:xfrm>
        </p:spPr>
        <p:txBody>
          <a:bodyPr anchor="b">
            <a:noAutofit/>
          </a:bodyPr>
          <a:lstStyle>
            <a:lvl1pPr>
              <a:defRPr sz="4000">
                <a:gradFill flip="none"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5093F1-D29B-4262-0476-B873B3F1A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9" y="3207821"/>
            <a:ext cx="6030004" cy="852571"/>
          </a:xfrm>
        </p:spPr>
        <p:txBody>
          <a:bodyPr>
            <a:noAutofit/>
          </a:bodyPr>
          <a:lstStyle>
            <a:lvl1pPr marL="0" indent="0">
              <a:buNone/>
              <a:defRPr sz="2000" b="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6CCF1FA-B284-80B6-8C68-416F41CC1C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515938" y="368300"/>
            <a:ext cx="1789641" cy="46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115136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0085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8302067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Contrast End"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23396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3B4B370E-A3A0-0A3B-8A44-12DD8356710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/>
          <a:stretch/>
        </p:blipFill>
        <p:spPr>
          <a:xfrm>
            <a:off x="4745965" y="3043031"/>
            <a:ext cx="2700070" cy="771937"/>
          </a:xfrm>
          <a:prstGeom prst="rect">
            <a:avLst/>
          </a:prstGeom>
        </p:spPr>
      </p:pic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441495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1371" y="557808"/>
            <a:ext cx="10300725" cy="470925"/>
          </a:xfrm>
          <a:prstGeom prst="rect">
            <a:avLst/>
          </a:prstGeom>
        </p:spPr>
        <p:txBody>
          <a:bodyPr/>
          <a:lstStyle>
            <a:lvl1pPr algn="l">
              <a:defRPr sz="2400" b="0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009793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2951752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720D60A-3DA7-6400-41D9-5B3383253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652EB72-13BB-5511-BA47-778867C9FE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6763" y="1788422"/>
            <a:ext cx="5329237" cy="46418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D7F12FF-7BBF-C90A-73D7-D8D1E23B06D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83338" y="1788422"/>
            <a:ext cx="5329237" cy="4641850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0D24DFCA-A197-7938-64BE-0F2832ED75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4265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- Editable Picture">
    <p:bg>
      <p:bgPr>
        <a:blipFill dpi="0" rotWithShape="1">
          <a:blip r:embed="rId2">
            <a:lum/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3D9E990-C112-10F6-8C49-677EFBCFD1C3}"/>
              </a:ext>
            </a:extLst>
          </p:cNvPr>
          <p:cNvSpPr/>
          <p:nvPr userDrawn="1"/>
        </p:nvSpPr>
        <p:spPr>
          <a:xfrm rot="10800000">
            <a:off x="-2" y="0"/>
            <a:ext cx="9574439" cy="5863771"/>
          </a:xfrm>
          <a:custGeom>
            <a:avLst/>
            <a:gdLst>
              <a:gd name="connsiteX0" fmla="*/ 9574439 w 9574439"/>
              <a:gd name="connsiteY0" fmla="*/ 5863771 h 5863771"/>
              <a:gd name="connsiteX1" fmla="*/ 0 w 9574439"/>
              <a:gd name="connsiteY1" fmla="*/ 5863771 h 5863771"/>
              <a:gd name="connsiteX2" fmla="*/ 10698 w 9574439"/>
              <a:gd name="connsiteY2" fmla="*/ 5778514 h 5863771"/>
              <a:gd name="connsiteX3" fmla="*/ 6727369 w 9574439"/>
              <a:gd name="connsiteY3" fmla="*/ 0 h 5863771"/>
              <a:gd name="connsiteX4" fmla="*/ 6832879 w 9574439"/>
              <a:gd name="connsiteY4" fmla="*/ 2668 h 5863771"/>
              <a:gd name="connsiteX5" fmla="*/ 6642772 w 9574439"/>
              <a:gd name="connsiteY5" fmla="*/ 7175 h 5863771"/>
              <a:gd name="connsiteX6" fmla="*/ 706335 w 9574439"/>
              <a:gd name="connsiteY6" fmla="*/ 5630272 h 5863771"/>
              <a:gd name="connsiteX7" fmla="*/ 688579 w 9574439"/>
              <a:gd name="connsiteY7" fmla="*/ 5863770 h 5863771"/>
              <a:gd name="connsiteX8" fmla="*/ 9574438 w 9574439"/>
              <a:gd name="connsiteY8" fmla="*/ 5863770 h 5863771"/>
              <a:gd name="connsiteX9" fmla="*/ 9574438 w 9574439"/>
              <a:gd name="connsiteY9" fmla="*/ 625693 h 5863771"/>
              <a:gd name="connsiteX10" fmla="*/ 9574439 w 9574439"/>
              <a:gd name="connsiteY10" fmla="*/ 625693 h 586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74439" h="5863771">
                <a:moveTo>
                  <a:pt x="9574439" y="5863771"/>
                </a:moveTo>
                <a:lnTo>
                  <a:pt x="0" y="5863771"/>
                </a:lnTo>
                <a:lnTo>
                  <a:pt x="10698" y="5778514"/>
                </a:lnTo>
                <a:cubicBezTo>
                  <a:pt x="499881" y="2508124"/>
                  <a:pt x="3320724" y="0"/>
                  <a:pt x="6727369" y="0"/>
                </a:cubicBezTo>
                <a:lnTo>
                  <a:pt x="6832879" y="2668"/>
                </a:lnTo>
                <a:lnTo>
                  <a:pt x="6642772" y="7175"/>
                </a:lnTo>
                <a:cubicBezTo>
                  <a:pt x="3533649" y="154917"/>
                  <a:pt x="1017462" y="2566659"/>
                  <a:pt x="706335" y="5630272"/>
                </a:cubicBezTo>
                <a:lnTo>
                  <a:pt x="688579" y="5863770"/>
                </a:lnTo>
                <a:lnTo>
                  <a:pt x="9574438" y="5863770"/>
                </a:lnTo>
                <a:lnTo>
                  <a:pt x="9574438" y="625693"/>
                </a:lnTo>
                <a:lnTo>
                  <a:pt x="9574439" y="625693"/>
                </a:lnTo>
                <a:close/>
              </a:path>
            </a:pathLst>
          </a:custGeom>
          <a:gradFill flip="none" rotWithShape="1">
            <a:gsLst>
              <a:gs pos="27000">
                <a:schemeClr val="tx2"/>
              </a:gs>
              <a:gs pos="100000">
                <a:schemeClr val="accent2"/>
              </a:gs>
            </a:gsLst>
            <a:lin ang="480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>
              <a:solidFill>
                <a:schemeClr val="accent1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5CB337A-9852-35D1-A8E0-3E4F6AA3365D}"/>
              </a:ext>
            </a:extLst>
          </p:cNvPr>
          <p:cNvSpPr/>
          <p:nvPr userDrawn="1"/>
        </p:nvSpPr>
        <p:spPr>
          <a:xfrm rot="10800000">
            <a:off x="-1" y="0"/>
            <a:ext cx="8885859" cy="5863771"/>
          </a:xfrm>
          <a:custGeom>
            <a:avLst/>
            <a:gdLst>
              <a:gd name="connsiteX0" fmla="*/ 5148401 w 7311634"/>
              <a:gd name="connsiteY0" fmla="*/ 0 h 4824941"/>
              <a:gd name="connsiteX1" fmla="*/ 7157075 w 7311634"/>
              <a:gd name="connsiteY1" fmla="*/ 405533 h 4824941"/>
              <a:gd name="connsiteX2" fmla="*/ 7311634 w 7311634"/>
              <a:gd name="connsiteY2" fmla="*/ 475408 h 4824941"/>
              <a:gd name="connsiteX3" fmla="*/ 7311634 w 7311634"/>
              <a:gd name="connsiteY3" fmla="*/ 4824941 h 4824941"/>
              <a:gd name="connsiteX4" fmla="*/ 0 w 7311634"/>
              <a:gd name="connsiteY4" fmla="*/ 4824941 h 4824941"/>
              <a:gd name="connsiteX5" fmla="*/ 14610 w 7311634"/>
              <a:gd name="connsiteY5" fmla="*/ 4632810 h 4824941"/>
              <a:gd name="connsiteX6" fmla="*/ 5148401 w 7311634"/>
              <a:gd name="connsiteY6" fmla="*/ 0 h 4824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1634" h="4824941">
                <a:moveTo>
                  <a:pt x="5148401" y="0"/>
                </a:moveTo>
                <a:cubicBezTo>
                  <a:pt x="5860908" y="0"/>
                  <a:pt x="6539689" y="144401"/>
                  <a:pt x="7157075" y="405533"/>
                </a:cubicBezTo>
                <a:lnTo>
                  <a:pt x="7311634" y="475408"/>
                </a:lnTo>
                <a:lnTo>
                  <a:pt x="7311634" y="4824941"/>
                </a:lnTo>
                <a:lnTo>
                  <a:pt x="0" y="4824941"/>
                </a:lnTo>
                <a:lnTo>
                  <a:pt x="14610" y="4632810"/>
                </a:lnTo>
                <a:cubicBezTo>
                  <a:pt x="278876" y="2030630"/>
                  <a:pt x="2476499" y="0"/>
                  <a:pt x="5148401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pic>
        <p:nvPicPr>
          <p:cNvPr id="4" name="Picture 3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5D6A2647-7A16-DFCF-6855-53AB4AB88D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6010" y="443335"/>
            <a:ext cx="3603218" cy="6803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1636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6763" y="2432049"/>
            <a:ext cx="7200900" cy="2709794"/>
          </a:xfrm>
        </p:spPr>
        <p:txBody>
          <a:bodyPr anchor="t">
            <a:noAutofit/>
          </a:bodyPr>
          <a:lstStyle>
            <a:lvl1pPr algn="l">
              <a:lnSpc>
                <a:spcPts val="6100"/>
              </a:lnSpc>
              <a:defRPr sz="6050"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839BC965-D810-4544-B67D-E0232387FE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3" y="5213034"/>
            <a:ext cx="7208459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50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  <p:pic>
        <p:nvPicPr>
          <p:cNvPr id="9" name="Picture 8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91AC5C78-3CC3-96C1-75E0-86BE259B923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4639" y="443335"/>
            <a:ext cx="3077936" cy="581188"/>
          </a:xfrm>
          <a:prstGeom prst="rect">
            <a:avLst/>
          </a:prstGeom>
        </p:spPr>
      </p:pic>
      <p:pic>
        <p:nvPicPr>
          <p:cNvPr id="4" name="Picture 3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C552F7B1-7D1C-0991-2A20-1550261374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3251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 with number (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426" y="3355548"/>
            <a:ext cx="7236237" cy="1857485"/>
          </a:xfrm>
        </p:spPr>
        <p:txBody>
          <a:bodyPr anchor="t">
            <a:noAutofit/>
          </a:bodyPr>
          <a:lstStyle>
            <a:lvl1pPr algn="l">
              <a:lnSpc>
                <a:spcPts val="5000"/>
              </a:lnSpc>
              <a:defRPr sz="5300" b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234" y="347686"/>
            <a:ext cx="3321879" cy="864352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25CB4C12-0E75-E2CF-0264-107A2599BE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321029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 with number (green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426" y="3355548"/>
            <a:ext cx="7236237" cy="1857485"/>
          </a:xfrm>
        </p:spPr>
        <p:txBody>
          <a:bodyPr anchor="t">
            <a:noAutofit/>
          </a:bodyPr>
          <a:lstStyle>
            <a:lvl1pPr algn="l">
              <a:lnSpc>
                <a:spcPts val="5000"/>
              </a:lnSpc>
              <a:defRPr sz="5300" b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43234" y="347686"/>
            <a:ext cx="3321879" cy="864351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25CB4C12-0E75-E2CF-0264-107A2599BE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5220781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 with number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426" y="3355548"/>
            <a:ext cx="7236237" cy="1857485"/>
          </a:xfrm>
        </p:spPr>
        <p:txBody>
          <a:bodyPr anchor="t">
            <a:noAutofit/>
          </a:bodyPr>
          <a:lstStyle>
            <a:lvl1pPr algn="l">
              <a:lnSpc>
                <a:spcPts val="5000"/>
              </a:lnSpc>
              <a:defRPr sz="5300" b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234" y="347686"/>
            <a:ext cx="3321879" cy="864352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25CB4C12-0E75-E2CF-0264-107A2599BE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5794641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Editab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3D9E990-C112-10F6-8C49-677EFBCFD1C3}"/>
              </a:ext>
            </a:extLst>
          </p:cNvPr>
          <p:cNvSpPr/>
          <p:nvPr userDrawn="1"/>
        </p:nvSpPr>
        <p:spPr>
          <a:xfrm rot="10800000">
            <a:off x="-2" y="0"/>
            <a:ext cx="9574439" cy="5863771"/>
          </a:xfrm>
          <a:custGeom>
            <a:avLst/>
            <a:gdLst>
              <a:gd name="connsiteX0" fmla="*/ 9574439 w 9574439"/>
              <a:gd name="connsiteY0" fmla="*/ 5863771 h 5863771"/>
              <a:gd name="connsiteX1" fmla="*/ 0 w 9574439"/>
              <a:gd name="connsiteY1" fmla="*/ 5863771 h 5863771"/>
              <a:gd name="connsiteX2" fmla="*/ 10698 w 9574439"/>
              <a:gd name="connsiteY2" fmla="*/ 5778514 h 5863771"/>
              <a:gd name="connsiteX3" fmla="*/ 6727369 w 9574439"/>
              <a:gd name="connsiteY3" fmla="*/ 0 h 5863771"/>
              <a:gd name="connsiteX4" fmla="*/ 6832879 w 9574439"/>
              <a:gd name="connsiteY4" fmla="*/ 2668 h 5863771"/>
              <a:gd name="connsiteX5" fmla="*/ 6642772 w 9574439"/>
              <a:gd name="connsiteY5" fmla="*/ 7175 h 5863771"/>
              <a:gd name="connsiteX6" fmla="*/ 706335 w 9574439"/>
              <a:gd name="connsiteY6" fmla="*/ 5630272 h 5863771"/>
              <a:gd name="connsiteX7" fmla="*/ 688579 w 9574439"/>
              <a:gd name="connsiteY7" fmla="*/ 5863770 h 5863771"/>
              <a:gd name="connsiteX8" fmla="*/ 9574438 w 9574439"/>
              <a:gd name="connsiteY8" fmla="*/ 5863770 h 5863771"/>
              <a:gd name="connsiteX9" fmla="*/ 9574438 w 9574439"/>
              <a:gd name="connsiteY9" fmla="*/ 625693 h 5863771"/>
              <a:gd name="connsiteX10" fmla="*/ 9574439 w 9574439"/>
              <a:gd name="connsiteY10" fmla="*/ 625693 h 5863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9574439" h="5863771">
                <a:moveTo>
                  <a:pt x="9574439" y="5863771"/>
                </a:moveTo>
                <a:lnTo>
                  <a:pt x="0" y="5863771"/>
                </a:lnTo>
                <a:lnTo>
                  <a:pt x="10698" y="5778514"/>
                </a:lnTo>
                <a:cubicBezTo>
                  <a:pt x="499881" y="2508124"/>
                  <a:pt x="3320724" y="0"/>
                  <a:pt x="6727369" y="0"/>
                </a:cubicBezTo>
                <a:lnTo>
                  <a:pt x="6832879" y="2668"/>
                </a:lnTo>
                <a:lnTo>
                  <a:pt x="6642772" y="7175"/>
                </a:lnTo>
                <a:cubicBezTo>
                  <a:pt x="3533649" y="154917"/>
                  <a:pt x="1017462" y="2566659"/>
                  <a:pt x="706335" y="5630272"/>
                </a:cubicBezTo>
                <a:lnTo>
                  <a:pt x="688579" y="5863770"/>
                </a:lnTo>
                <a:lnTo>
                  <a:pt x="9574438" y="5863770"/>
                </a:lnTo>
                <a:lnTo>
                  <a:pt x="9574438" y="625693"/>
                </a:lnTo>
                <a:lnTo>
                  <a:pt x="9574439" y="625693"/>
                </a:lnTo>
                <a:close/>
              </a:path>
            </a:pathLst>
          </a:custGeom>
          <a:gradFill flip="none" rotWithShape="1">
            <a:gsLst>
              <a:gs pos="0">
                <a:schemeClr val="tx2"/>
              </a:gs>
              <a:gs pos="100000">
                <a:schemeClr val="accent1">
                  <a:alpha val="8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95CB337A-9852-35D1-A8E0-3E4F6AA3365D}"/>
              </a:ext>
            </a:extLst>
          </p:cNvPr>
          <p:cNvSpPr/>
          <p:nvPr userDrawn="1"/>
        </p:nvSpPr>
        <p:spPr>
          <a:xfrm rot="10800000">
            <a:off x="-1" y="0"/>
            <a:ext cx="8885859" cy="5863771"/>
          </a:xfrm>
          <a:custGeom>
            <a:avLst/>
            <a:gdLst>
              <a:gd name="connsiteX0" fmla="*/ 5148401 w 7311634"/>
              <a:gd name="connsiteY0" fmla="*/ 0 h 4824941"/>
              <a:gd name="connsiteX1" fmla="*/ 7157075 w 7311634"/>
              <a:gd name="connsiteY1" fmla="*/ 405533 h 4824941"/>
              <a:gd name="connsiteX2" fmla="*/ 7311634 w 7311634"/>
              <a:gd name="connsiteY2" fmla="*/ 475408 h 4824941"/>
              <a:gd name="connsiteX3" fmla="*/ 7311634 w 7311634"/>
              <a:gd name="connsiteY3" fmla="*/ 4824941 h 4824941"/>
              <a:gd name="connsiteX4" fmla="*/ 0 w 7311634"/>
              <a:gd name="connsiteY4" fmla="*/ 4824941 h 4824941"/>
              <a:gd name="connsiteX5" fmla="*/ 14610 w 7311634"/>
              <a:gd name="connsiteY5" fmla="*/ 4632810 h 4824941"/>
              <a:gd name="connsiteX6" fmla="*/ 5148401 w 7311634"/>
              <a:gd name="connsiteY6" fmla="*/ 0 h 48249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1634" h="4824941">
                <a:moveTo>
                  <a:pt x="5148401" y="0"/>
                </a:moveTo>
                <a:cubicBezTo>
                  <a:pt x="5860908" y="0"/>
                  <a:pt x="6539689" y="144401"/>
                  <a:pt x="7157075" y="405533"/>
                </a:cubicBezTo>
                <a:lnTo>
                  <a:pt x="7311634" y="475408"/>
                </a:lnTo>
                <a:lnTo>
                  <a:pt x="7311634" y="4824941"/>
                </a:lnTo>
                <a:lnTo>
                  <a:pt x="0" y="4824941"/>
                </a:lnTo>
                <a:lnTo>
                  <a:pt x="14610" y="4632810"/>
                </a:lnTo>
                <a:cubicBezTo>
                  <a:pt x="278876" y="2030630"/>
                  <a:pt x="2476499" y="0"/>
                  <a:pt x="5148401" y="0"/>
                </a:cubicBez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85000"/>
                </a:schemeClr>
              </a:gs>
            </a:gsLst>
            <a:lin ang="13500000" scaled="1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4FE008-8EEF-1733-725C-156BF741A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9" y="915551"/>
            <a:ext cx="7231062" cy="2035175"/>
          </a:xfrm>
        </p:spPr>
        <p:txBody>
          <a:bodyPr anchor="b">
            <a:noAutofit/>
          </a:bodyPr>
          <a:lstStyle>
            <a:lvl1pPr>
              <a:defRPr sz="4000">
                <a:gradFill flip="none" rotWithShape="1"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5093F1-D29B-4262-0476-B873B3F1A0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9" y="3207821"/>
            <a:ext cx="6030004" cy="852571"/>
          </a:xfrm>
        </p:spPr>
        <p:txBody>
          <a:bodyPr>
            <a:noAutofit/>
          </a:bodyPr>
          <a:lstStyle>
            <a:lvl1pPr marL="0" indent="0">
              <a:buNone/>
              <a:defRPr sz="2000" b="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A6CCF1FA-B284-80B6-8C68-416F41CC1C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15938" y="368300"/>
            <a:ext cx="1789641" cy="46686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86ABC-43A4-FA90-FFD9-066BEEBB6AA8}"/>
              </a:ext>
            </a:extLst>
          </p:cNvPr>
          <p:cNvSpPr/>
          <p:nvPr userDrawn="1"/>
        </p:nvSpPr>
        <p:spPr>
          <a:xfrm>
            <a:off x="0" y="6864662"/>
            <a:ext cx="12192000" cy="45038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l">
              <a:lnSpc>
                <a:spcPct val="90000"/>
              </a:lnSpc>
              <a:spcAft>
                <a:spcPts val="200"/>
              </a:spcAft>
            </a:pPr>
            <a:r>
              <a:rPr lang="en-GB" sz="800" b="1">
                <a:solidFill>
                  <a:schemeClr val="bg1"/>
                </a:solidFill>
              </a:rPr>
              <a:t>To change background picture: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Right-click inside or outside the canvas &gt; Format Background… &gt; Picture or texture fill &gt; Insert… </a:t>
            </a:r>
            <a:br>
              <a:rPr lang="en-GB" sz="800">
                <a:solidFill>
                  <a:schemeClr val="bg1"/>
                </a:solidFill>
              </a:rPr>
            </a:br>
            <a:r>
              <a:rPr lang="en-GB" sz="800">
                <a:solidFill>
                  <a:schemeClr val="bg1"/>
                </a:solidFill>
              </a:rPr>
              <a:t>(or </a:t>
            </a:r>
            <a:r>
              <a:rPr lang="en-GB" sz="800" b="1">
                <a:solidFill>
                  <a:schemeClr val="bg1"/>
                </a:solidFill>
              </a:rPr>
              <a:t>Clipboard</a:t>
            </a:r>
            <a:r>
              <a:rPr lang="en-GB" sz="800">
                <a:solidFill>
                  <a:schemeClr val="bg1"/>
                </a:solidFill>
              </a:rPr>
              <a:t> if you copied the picture from another slide/presentation)</a:t>
            </a:r>
          </a:p>
        </p:txBody>
      </p:sp>
    </p:spTree>
    <p:extLst>
      <p:ext uri="{BB962C8B-B14F-4D97-AF65-F5344CB8AC3E}">
        <p14:creationId xmlns:p14="http://schemas.microsoft.com/office/powerpoint/2010/main" val="4102394604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A with number (gradient)">
    <p:bg>
      <p:bgPr>
        <a:gradFill>
          <a:gsLst>
            <a:gs pos="58000">
              <a:schemeClr val="tx2">
                <a:lumMod val="100000"/>
              </a:schemeClr>
            </a:gs>
            <a:gs pos="100000">
              <a:schemeClr val="accent2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31426" y="3355548"/>
            <a:ext cx="7236237" cy="1857485"/>
          </a:xfrm>
        </p:spPr>
        <p:txBody>
          <a:bodyPr anchor="t">
            <a:noAutofit/>
          </a:bodyPr>
          <a:lstStyle>
            <a:lvl1pPr algn="l">
              <a:lnSpc>
                <a:spcPts val="5000"/>
              </a:lnSpc>
              <a:defRPr sz="5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43236" y="347686"/>
            <a:ext cx="3321875" cy="864351"/>
          </a:xfrm>
          <a:prstGeom prst="rect">
            <a:avLst/>
          </a:prstGeom>
        </p:spPr>
      </p:pic>
      <p:sp>
        <p:nvSpPr>
          <p:cNvPr id="10" name="Untertitel 2">
            <a:extLst>
              <a:ext uri="{FF2B5EF4-FFF2-40B4-BE49-F238E27FC236}">
                <a16:creationId xmlns:a16="http://schemas.microsoft.com/office/drawing/2014/main" id="{25CB4C12-0E75-E2CF-0264-107A2599BEC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6099668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 (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6763" y="2432049"/>
            <a:ext cx="7200900" cy="2642590"/>
          </a:xfrm>
        </p:spPr>
        <p:txBody>
          <a:bodyPr anchor="t">
            <a:noAutofit/>
          </a:bodyPr>
          <a:lstStyle>
            <a:lvl1pPr algn="l">
              <a:lnSpc>
                <a:spcPts val="5100"/>
              </a:lnSpc>
              <a:defRPr sz="5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234" y="347686"/>
            <a:ext cx="3321879" cy="864352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07F20C68-2655-F4A9-4AAE-C9C779F5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630286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 (ligh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6763" y="2432049"/>
            <a:ext cx="7200900" cy="2642590"/>
          </a:xfrm>
        </p:spPr>
        <p:txBody>
          <a:bodyPr anchor="t">
            <a:noAutofit/>
          </a:bodyPr>
          <a:lstStyle>
            <a:lvl1pPr algn="l">
              <a:lnSpc>
                <a:spcPts val="5100"/>
              </a:lnSpc>
              <a:defRPr sz="5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234" y="347686"/>
            <a:ext cx="3321879" cy="864352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07F20C68-2655-F4A9-4AAE-C9C779F5166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1494663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 (green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6763" y="2432049"/>
            <a:ext cx="7200900" cy="2642590"/>
          </a:xfrm>
        </p:spPr>
        <p:txBody>
          <a:bodyPr anchor="t">
            <a:noAutofit/>
          </a:bodyPr>
          <a:lstStyle>
            <a:lvl1pPr algn="l">
              <a:lnSpc>
                <a:spcPts val="5000"/>
              </a:lnSpc>
              <a:defRPr sz="5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43234" y="347686"/>
            <a:ext cx="3321879" cy="864351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51189734-74E1-D325-D768-3733F9C7CB9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2825806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B (gradient)">
    <p:bg>
      <p:bgPr>
        <a:gradFill flip="none" rotWithShape="1">
          <a:gsLst>
            <a:gs pos="58000">
              <a:schemeClr val="tx2">
                <a:lumMod val="100000"/>
              </a:schemeClr>
            </a:gs>
            <a:gs pos="100000">
              <a:schemeClr val="accent2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6710459-C495-40F3-A23E-9D8CCC1312D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66763" y="2432049"/>
            <a:ext cx="7200900" cy="2642590"/>
          </a:xfrm>
        </p:spPr>
        <p:txBody>
          <a:bodyPr anchor="t">
            <a:noAutofit/>
          </a:bodyPr>
          <a:lstStyle>
            <a:lvl1pPr algn="l">
              <a:lnSpc>
                <a:spcPts val="5000"/>
              </a:lnSpc>
              <a:defRPr sz="53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noProof="0"/>
              <a:t>Headline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B6A76A23-196C-1156-CE35-BC94E98BAB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234" y="347686"/>
            <a:ext cx="3321879" cy="864352"/>
          </a:xfrm>
          <a:prstGeom prst="rect">
            <a:avLst/>
          </a:prstGeom>
        </p:spPr>
      </p:pic>
      <p:sp>
        <p:nvSpPr>
          <p:cNvPr id="3" name="Untertitel 2">
            <a:extLst>
              <a:ext uri="{FF2B5EF4-FFF2-40B4-BE49-F238E27FC236}">
                <a16:creationId xmlns:a16="http://schemas.microsoft.com/office/drawing/2014/main" id="{5B773D53-377B-9B93-039F-3C4177CAF34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6764" y="5074639"/>
            <a:ext cx="7200900" cy="915986"/>
          </a:xfrm>
        </p:spPr>
        <p:txBody>
          <a:bodyPr anchor="b"/>
          <a:lstStyle>
            <a:lvl1pPr marL="0" indent="0" algn="l">
              <a:lnSpc>
                <a:spcPts val="2300"/>
              </a:lnSpc>
              <a:spcAft>
                <a:spcPts val="0"/>
              </a:spcAft>
              <a:buNone/>
              <a:defRPr sz="23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Text</a:t>
            </a:r>
          </a:p>
        </p:txBody>
      </p:sp>
    </p:spTree>
    <p:extLst>
      <p:ext uri="{BB962C8B-B14F-4D97-AF65-F5344CB8AC3E}">
        <p14:creationId xmlns:p14="http://schemas.microsoft.com/office/powerpoint/2010/main" val="38990545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(BLU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7558" y="2384425"/>
            <a:ext cx="5951157" cy="711798"/>
          </a:xfrm>
        </p:spPr>
        <p:txBody>
          <a:bodyPr/>
          <a:lstStyle>
            <a:lvl1pPr>
              <a:lnSpc>
                <a:spcPts val="55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F2A1-81BB-430B-9217-FC25AD54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5779" y="1193708"/>
            <a:ext cx="2790829" cy="2354491"/>
          </a:xfrm>
        </p:spPr>
        <p:txBody>
          <a:bodyPr wrap="none">
            <a:spAutoFit/>
          </a:bodyPr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165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1.</a:t>
            </a:r>
          </a:p>
        </p:txBody>
      </p:sp>
      <p:pic>
        <p:nvPicPr>
          <p:cNvPr id="7" name="Picture 6" descr="A black and white logo&#10;&#10;AI-generated content may be incorrect.">
            <a:extLst>
              <a:ext uri="{FF2B5EF4-FFF2-40B4-BE49-F238E27FC236}">
                <a16:creationId xmlns:a16="http://schemas.microsoft.com/office/drawing/2014/main" id="{66C9BE18-D6C3-AC3C-EAF3-1750DC68BA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234" y="347686"/>
            <a:ext cx="3321879" cy="86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0923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(GREEN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6566" y="2384425"/>
            <a:ext cx="5951157" cy="3259138"/>
          </a:xfrm>
        </p:spPr>
        <p:txBody>
          <a:bodyPr/>
          <a:lstStyle>
            <a:lvl1pPr>
              <a:defRPr sz="60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F2A1-81BB-430B-9217-FC25AD54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28104" y="811073"/>
            <a:ext cx="4083049" cy="3290144"/>
          </a:xfrm>
        </p:spPr>
        <p:txBody>
          <a:bodyPr wrap="none"/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200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1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9688B91-8885-9D6F-CEA0-458252B2C7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43234" y="347686"/>
            <a:ext cx="3321879" cy="864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034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(LIGHT BLUE)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6566" y="2384425"/>
            <a:ext cx="5951157" cy="3259138"/>
          </a:xfrm>
        </p:spPr>
        <p:txBody>
          <a:bodyPr/>
          <a:lstStyle>
            <a:lvl1pPr>
              <a:defRPr sz="605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F2A1-81BB-430B-9217-FC25AD54910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128104" y="811073"/>
            <a:ext cx="4083049" cy="3290144"/>
          </a:xfrm>
        </p:spPr>
        <p:txBody>
          <a:bodyPr wrap="none"/>
          <a:lstStyle>
            <a:lvl1pPr marL="0" indent="0" algn="r">
              <a:lnSpc>
                <a:spcPct val="90000"/>
              </a:lnSpc>
              <a:spcAft>
                <a:spcPts val="0"/>
              </a:spcAft>
              <a:buNone/>
              <a:defRPr sz="20000" b="1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1.</a:t>
            </a:r>
          </a:p>
        </p:txBody>
      </p:sp>
      <p:pic>
        <p:nvPicPr>
          <p:cNvPr id="5" name="Picture 4" descr="A black and white logo&#10;&#10;AI-generated content may be incorrect.">
            <a:extLst>
              <a:ext uri="{FF2B5EF4-FFF2-40B4-BE49-F238E27FC236}">
                <a16:creationId xmlns:a16="http://schemas.microsoft.com/office/drawing/2014/main" id="{E373CD06-4FE7-3E55-8BB9-A3162A0EDE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43234" y="347686"/>
            <a:ext cx="3321879" cy="8643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3770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ikin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1192502"/>
            <a:ext cx="10945812" cy="5436554"/>
          </a:xfrm>
        </p:spPr>
        <p:txBody>
          <a:bodyPr/>
          <a:lstStyle>
            <a:lvl1pPr>
              <a:lnSpc>
                <a:spcPct val="92000"/>
              </a:lnSpc>
              <a:defRPr sz="3600"/>
            </a:lvl1pPr>
          </a:lstStyle>
          <a:p>
            <a:r>
              <a:rPr lang="en-US" noProof="0"/>
              <a:t>Headline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pic>
        <p:nvPicPr>
          <p:cNvPr id="3" name="Picture 2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4D468A29-75C1-8EF2-969D-6386774385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134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303244D-937E-4454-B7C5-7011139228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Headline</a:t>
            </a:r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6053F2C-0DEF-4819-971B-2896B5F342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615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esentation title · 00.00.2021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107E861-C030-4B69-8CC8-F1E7C17EF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F59E3736-BE26-0ECF-E057-9C20DBD6A4C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068547"/>
            <a:ext cx="5461000" cy="276486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A60DB230-C47D-B07C-E7BF-E69120F35B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0516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/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Freeform: Shape 46">
            <a:extLst>
              <a:ext uri="{FF2B5EF4-FFF2-40B4-BE49-F238E27FC236}">
                <a16:creationId xmlns:a16="http://schemas.microsoft.com/office/drawing/2014/main" id="{E743CEBB-787C-2D8A-C483-BB4FEA9CF8AC}"/>
              </a:ext>
            </a:extLst>
          </p:cNvPr>
          <p:cNvSpPr/>
          <p:nvPr/>
        </p:nvSpPr>
        <p:spPr>
          <a:xfrm>
            <a:off x="7252002" y="1109664"/>
            <a:ext cx="4939998" cy="5748336"/>
          </a:xfrm>
          <a:custGeom>
            <a:avLst/>
            <a:gdLst>
              <a:gd name="connsiteX0" fmla="*/ 4939998 w 4939998"/>
              <a:gd name="connsiteY0" fmla="*/ 5605289 h 5748336"/>
              <a:gd name="connsiteX1" fmla="*/ 4939998 w 4939998"/>
              <a:gd name="connsiteY1" fmla="*/ 5748336 h 5748336"/>
              <a:gd name="connsiteX2" fmla="*/ 4538566 w 4939998"/>
              <a:gd name="connsiteY2" fmla="*/ 5748336 h 5748336"/>
              <a:gd name="connsiteX3" fmla="*/ 4939998 w 4939998"/>
              <a:gd name="connsiteY3" fmla="*/ 5274922 h 5748336"/>
              <a:gd name="connsiteX4" fmla="*/ 4939998 w 4939998"/>
              <a:gd name="connsiteY4" fmla="*/ 5420809 h 5748336"/>
              <a:gd name="connsiteX5" fmla="*/ 4622567 w 4939998"/>
              <a:gd name="connsiteY5" fmla="*/ 5574357 h 5748336"/>
              <a:gd name="connsiteX6" fmla="*/ 4221903 w 4939998"/>
              <a:gd name="connsiteY6" fmla="*/ 5742079 h 5748336"/>
              <a:gd name="connsiteX7" fmla="*/ 4204369 w 4939998"/>
              <a:gd name="connsiteY7" fmla="*/ 5748336 h 5748336"/>
              <a:gd name="connsiteX8" fmla="*/ 3806880 w 4939998"/>
              <a:gd name="connsiteY8" fmla="*/ 5748336 h 5748336"/>
              <a:gd name="connsiteX9" fmla="*/ 4166715 w 4939998"/>
              <a:gd name="connsiteY9" fmla="*/ 5619158 h 5748336"/>
              <a:gd name="connsiteX10" fmla="*/ 4166715 w 4939998"/>
              <a:gd name="connsiteY10" fmla="*/ 5614140 h 5748336"/>
              <a:gd name="connsiteX11" fmla="*/ 4613120 w 4939998"/>
              <a:gd name="connsiteY11" fmla="*/ 5429213 h 5748336"/>
              <a:gd name="connsiteX12" fmla="*/ 4939998 w 4939998"/>
              <a:gd name="connsiteY12" fmla="*/ 4211322 h 5748336"/>
              <a:gd name="connsiteX13" fmla="*/ 4939998 w 4939998"/>
              <a:gd name="connsiteY13" fmla="*/ 4465357 h 5748336"/>
              <a:gd name="connsiteX14" fmla="*/ 4868155 w 4939998"/>
              <a:gd name="connsiteY14" fmla="*/ 4502214 h 5748336"/>
              <a:gd name="connsiteX15" fmla="*/ 3868196 w 4939998"/>
              <a:gd name="connsiteY15" fmla="*/ 4939336 h 5748336"/>
              <a:gd name="connsiteX16" fmla="*/ 1171495 w 4939998"/>
              <a:gd name="connsiteY16" fmla="*/ 5629193 h 5748336"/>
              <a:gd name="connsiteX17" fmla="*/ 1018473 w 4939998"/>
              <a:gd name="connsiteY17" fmla="*/ 5498747 h 5748336"/>
              <a:gd name="connsiteX18" fmla="*/ 3770361 w 4939998"/>
              <a:gd name="connsiteY18" fmla="*/ 4716074 h 5748336"/>
              <a:gd name="connsiteX19" fmla="*/ 3770361 w 4939998"/>
              <a:gd name="connsiteY19" fmla="*/ 4718583 h 5748336"/>
              <a:gd name="connsiteX20" fmla="*/ 4811197 w 4939998"/>
              <a:gd name="connsiteY20" fmla="*/ 4273743 h 5748336"/>
              <a:gd name="connsiteX21" fmla="*/ 4939998 w 4939998"/>
              <a:gd name="connsiteY21" fmla="*/ 3025925 h 5748336"/>
              <a:gd name="connsiteX22" fmla="*/ 4939998 w 4939998"/>
              <a:gd name="connsiteY22" fmla="*/ 3540890 h 5748336"/>
              <a:gd name="connsiteX23" fmla="*/ 4670679 w 4939998"/>
              <a:gd name="connsiteY23" fmla="*/ 3664137 h 5748336"/>
              <a:gd name="connsiteX24" fmla="*/ 3514490 w 4939998"/>
              <a:gd name="connsiteY24" fmla="*/ 4144120 h 5748336"/>
              <a:gd name="connsiteX25" fmla="*/ 3117991 w 4939998"/>
              <a:gd name="connsiteY25" fmla="*/ 4293468 h 5748336"/>
              <a:gd name="connsiteX26" fmla="*/ 2892083 w 4939998"/>
              <a:gd name="connsiteY26" fmla="*/ 4374261 h 5748336"/>
              <a:gd name="connsiteX27" fmla="*/ 2984456 w 4939998"/>
              <a:gd name="connsiteY27" fmla="*/ 4344959 h 5748336"/>
              <a:gd name="connsiteX28" fmla="*/ 4214375 w 4939998"/>
              <a:gd name="connsiteY28" fmla="*/ 3905807 h 5748336"/>
              <a:gd name="connsiteX29" fmla="*/ 4629448 w 4939998"/>
              <a:gd name="connsiteY29" fmla="*/ 3740620 h 5748336"/>
              <a:gd name="connsiteX30" fmla="*/ 4939998 w 4939998"/>
              <a:gd name="connsiteY30" fmla="*/ 3610914 h 5748336"/>
              <a:gd name="connsiteX31" fmla="*/ 4939998 w 4939998"/>
              <a:gd name="connsiteY31" fmla="*/ 4107750 h 5748336"/>
              <a:gd name="connsiteX32" fmla="*/ 4797755 w 4939998"/>
              <a:gd name="connsiteY32" fmla="*/ 4168895 h 5748336"/>
              <a:gd name="connsiteX33" fmla="*/ 4402515 w 4939998"/>
              <a:gd name="connsiteY33" fmla="*/ 4327249 h 5748336"/>
              <a:gd name="connsiteX34" fmla="*/ 4400008 w 4939998"/>
              <a:gd name="connsiteY34" fmla="*/ 4327249 h 5748336"/>
              <a:gd name="connsiteX35" fmla="*/ 1447434 w 4939998"/>
              <a:gd name="connsiteY35" fmla="*/ 5145041 h 5748336"/>
              <a:gd name="connsiteX36" fmla="*/ 1309777 w 4939998"/>
              <a:gd name="connsiteY36" fmla="*/ 4997977 h 5748336"/>
              <a:gd name="connsiteX37" fmla="*/ 1227590 w 4939998"/>
              <a:gd name="connsiteY37" fmla="*/ 4897703 h 5748336"/>
              <a:gd name="connsiteX38" fmla="*/ 1215160 w 4939998"/>
              <a:gd name="connsiteY38" fmla="*/ 4901159 h 5748336"/>
              <a:gd name="connsiteX39" fmla="*/ 531813 w 4939998"/>
              <a:gd name="connsiteY39" fmla="*/ 5067273 h 5748336"/>
              <a:gd name="connsiteX40" fmla="*/ 328621 w 4939998"/>
              <a:gd name="connsiteY40" fmla="*/ 4751194 h 5748336"/>
              <a:gd name="connsiteX41" fmla="*/ 3308787 w 4939998"/>
              <a:gd name="connsiteY41" fmla="*/ 3677526 h 5748336"/>
              <a:gd name="connsiteX42" fmla="*/ 3308787 w 4939998"/>
              <a:gd name="connsiteY42" fmla="*/ 3680035 h 5748336"/>
              <a:gd name="connsiteX43" fmla="*/ 4874128 w 4939998"/>
              <a:gd name="connsiteY43" fmla="*/ 3053520 h 5748336"/>
              <a:gd name="connsiteX44" fmla="*/ 4939998 w 4939998"/>
              <a:gd name="connsiteY44" fmla="*/ 1092018 h 5748336"/>
              <a:gd name="connsiteX45" fmla="*/ 4939998 w 4939998"/>
              <a:gd name="connsiteY45" fmla="*/ 1242798 h 5748336"/>
              <a:gd name="connsiteX46" fmla="*/ 4939998 w 4939998"/>
              <a:gd name="connsiteY46" fmla="*/ 1263974 h 5748336"/>
              <a:gd name="connsiteX47" fmla="*/ 4939998 w 4939998"/>
              <a:gd name="connsiteY47" fmla="*/ 1691637 h 5748336"/>
              <a:gd name="connsiteX48" fmla="*/ 4694235 w 4939998"/>
              <a:gd name="connsiteY48" fmla="*/ 1768356 h 5748336"/>
              <a:gd name="connsiteX49" fmla="*/ 3464316 w 4939998"/>
              <a:gd name="connsiteY49" fmla="*/ 2207508 h 5748336"/>
              <a:gd name="connsiteX50" fmla="*/ 899576 w 4939998"/>
              <a:gd name="connsiteY50" fmla="*/ 3385226 h 5748336"/>
              <a:gd name="connsiteX51" fmla="*/ 884259 w 4939998"/>
              <a:gd name="connsiteY51" fmla="*/ 3393983 h 5748336"/>
              <a:gd name="connsiteX52" fmla="*/ 941004 w 4939998"/>
              <a:gd name="connsiteY52" fmla="*/ 3365264 h 5748336"/>
              <a:gd name="connsiteX53" fmla="*/ 2809585 w 4939998"/>
              <a:gd name="connsiteY53" fmla="*/ 2551179 h 5748336"/>
              <a:gd name="connsiteX54" fmla="*/ 4747985 w 4939998"/>
              <a:gd name="connsiteY54" fmla="*/ 1893879 h 5748336"/>
              <a:gd name="connsiteX55" fmla="*/ 4939998 w 4939998"/>
              <a:gd name="connsiteY55" fmla="*/ 1840464 h 5748336"/>
              <a:gd name="connsiteX56" fmla="*/ 4939998 w 4939998"/>
              <a:gd name="connsiteY56" fmla="*/ 2302780 h 5748336"/>
              <a:gd name="connsiteX57" fmla="*/ 4595678 w 4939998"/>
              <a:gd name="connsiteY57" fmla="*/ 2425437 h 5748336"/>
              <a:gd name="connsiteX58" fmla="*/ 3015286 w 4939998"/>
              <a:gd name="connsiteY58" fmla="*/ 3017773 h 5748336"/>
              <a:gd name="connsiteX59" fmla="*/ 95326 w 4939998"/>
              <a:gd name="connsiteY59" fmla="*/ 4226902 h 5748336"/>
              <a:gd name="connsiteX60" fmla="*/ 0 w 4939998"/>
              <a:gd name="connsiteY60" fmla="*/ 3868177 h 5748336"/>
              <a:gd name="connsiteX61" fmla="*/ 608326 w 4939998"/>
              <a:gd name="connsiteY61" fmla="*/ 3533637 h 5748336"/>
              <a:gd name="connsiteX62" fmla="*/ 609711 w 4939998"/>
              <a:gd name="connsiteY62" fmla="*/ 3532936 h 5748336"/>
              <a:gd name="connsiteX63" fmla="*/ 584178 w 4939998"/>
              <a:gd name="connsiteY63" fmla="*/ 3353923 h 5748336"/>
              <a:gd name="connsiteX64" fmla="*/ 569440 w 4939998"/>
              <a:gd name="connsiteY64" fmla="*/ 3158255 h 5748336"/>
              <a:gd name="connsiteX65" fmla="*/ 3276174 w 4939998"/>
              <a:gd name="connsiteY65" fmla="*/ 1786067 h 5748336"/>
              <a:gd name="connsiteX66" fmla="*/ 4456220 w 4939998"/>
              <a:gd name="connsiteY66" fmla="*/ 1379283 h 5748336"/>
              <a:gd name="connsiteX67" fmla="*/ 4569094 w 4939998"/>
              <a:gd name="connsiteY67" fmla="*/ 1346730 h 5748336"/>
              <a:gd name="connsiteX68" fmla="*/ 4147023 w 4939998"/>
              <a:gd name="connsiteY68" fmla="*/ 1452080 h 5748336"/>
              <a:gd name="connsiteX69" fmla="*/ 2556218 w 4939998"/>
              <a:gd name="connsiteY69" fmla="*/ 1976716 h 5748336"/>
              <a:gd name="connsiteX70" fmla="*/ 12542 w 4939998"/>
              <a:gd name="connsiteY70" fmla="*/ 3246052 h 5748336"/>
              <a:gd name="connsiteX71" fmla="*/ 25085 w 4939998"/>
              <a:gd name="connsiteY71" fmla="*/ 3050384 h 5748336"/>
              <a:gd name="connsiteX72" fmla="*/ 2455878 w 4939998"/>
              <a:gd name="connsiteY72" fmla="*/ 1755962 h 5748336"/>
              <a:gd name="connsiteX73" fmla="*/ 2455878 w 4939998"/>
              <a:gd name="connsiteY73" fmla="*/ 1753454 h 5748336"/>
              <a:gd name="connsiteX74" fmla="*/ 4834970 w 4939998"/>
              <a:gd name="connsiteY74" fmla="*/ 1105895 h 5748336"/>
              <a:gd name="connsiteX75" fmla="*/ 3755311 w 4939998"/>
              <a:gd name="connsiteY75" fmla="*/ 509204 h 5748336"/>
              <a:gd name="connsiteX76" fmla="*/ 3983588 w 4939998"/>
              <a:gd name="connsiteY76" fmla="*/ 564392 h 5748336"/>
              <a:gd name="connsiteX77" fmla="*/ 2157360 w 4939998"/>
              <a:gd name="connsiteY77" fmla="*/ 1078650 h 5748336"/>
              <a:gd name="connsiteX78" fmla="*/ 476625 w 4939998"/>
              <a:gd name="connsiteY78" fmla="*/ 1919019 h 5748336"/>
              <a:gd name="connsiteX79" fmla="*/ 597036 w 4939998"/>
              <a:gd name="connsiteY79" fmla="*/ 1728368 h 5748336"/>
              <a:gd name="connsiteX80" fmla="*/ 2104679 w 4939998"/>
              <a:gd name="connsiteY80" fmla="*/ 953222 h 5748336"/>
              <a:gd name="connsiteX81" fmla="*/ 2102170 w 4939998"/>
              <a:gd name="connsiteY81" fmla="*/ 955728 h 5748336"/>
              <a:gd name="connsiteX82" fmla="*/ 3755311 w 4939998"/>
              <a:gd name="connsiteY82" fmla="*/ 509204 h 5748336"/>
              <a:gd name="connsiteX83" fmla="*/ 3919778 w 4939998"/>
              <a:gd name="connsiteY83" fmla="*/ 824 h 5748336"/>
              <a:gd name="connsiteX84" fmla="*/ 4435127 w 4939998"/>
              <a:gd name="connsiteY84" fmla="*/ 50139 h 5748336"/>
              <a:gd name="connsiteX85" fmla="*/ 2711748 w 4939998"/>
              <a:gd name="connsiteY85" fmla="*/ 514222 h 5748336"/>
              <a:gd name="connsiteX86" fmla="*/ 2709239 w 4939998"/>
              <a:gd name="connsiteY86" fmla="*/ 514222 h 5748336"/>
              <a:gd name="connsiteX87" fmla="*/ 1141390 w 4939998"/>
              <a:gd name="connsiteY87" fmla="*/ 1324491 h 5748336"/>
              <a:gd name="connsiteX88" fmla="*/ 2586320 w 4939998"/>
              <a:gd name="connsiteY88" fmla="*/ 233263 h 5748336"/>
              <a:gd name="connsiteX89" fmla="*/ 3745646 w 4939998"/>
              <a:gd name="connsiteY89" fmla="*/ 1368 h 5748336"/>
              <a:gd name="connsiteX90" fmla="*/ 3919778 w 4939998"/>
              <a:gd name="connsiteY90" fmla="*/ 824 h 5748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4939998" h="5748336">
                <a:moveTo>
                  <a:pt x="4939998" y="5605289"/>
                </a:moveTo>
                <a:lnTo>
                  <a:pt x="4939998" y="5748336"/>
                </a:lnTo>
                <a:lnTo>
                  <a:pt x="4538566" y="5748336"/>
                </a:lnTo>
                <a:close/>
                <a:moveTo>
                  <a:pt x="4939998" y="5274922"/>
                </a:moveTo>
                <a:lnTo>
                  <a:pt x="4939998" y="5420809"/>
                </a:lnTo>
                <a:lnTo>
                  <a:pt x="4622567" y="5574357"/>
                </a:lnTo>
                <a:cubicBezTo>
                  <a:pt x="4491573" y="5633426"/>
                  <a:pt x="4357992" y="5689399"/>
                  <a:pt x="4221903" y="5742079"/>
                </a:cubicBezTo>
                <a:lnTo>
                  <a:pt x="4204369" y="5748336"/>
                </a:lnTo>
                <a:lnTo>
                  <a:pt x="3806880" y="5748336"/>
                </a:lnTo>
                <a:lnTo>
                  <a:pt x="4166715" y="5619158"/>
                </a:lnTo>
                <a:lnTo>
                  <a:pt x="4166715" y="5614140"/>
                </a:lnTo>
                <a:cubicBezTo>
                  <a:pt x="4317855" y="5555816"/>
                  <a:pt x="4466801" y="5494043"/>
                  <a:pt x="4613120" y="5429213"/>
                </a:cubicBezTo>
                <a:close/>
                <a:moveTo>
                  <a:pt x="4939998" y="4211322"/>
                </a:moveTo>
                <a:lnTo>
                  <a:pt x="4939998" y="4465357"/>
                </a:lnTo>
                <a:lnTo>
                  <a:pt x="4868155" y="4502214"/>
                </a:lnTo>
                <a:cubicBezTo>
                  <a:pt x="4550092" y="4659122"/>
                  <a:pt x="4215318" y="4805755"/>
                  <a:pt x="3868196" y="4939336"/>
                </a:cubicBezTo>
                <a:cubicBezTo>
                  <a:pt x="2942538" y="5298062"/>
                  <a:pt x="2011862" y="5533867"/>
                  <a:pt x="1171495" y="5629193"/>
                </a:cubicBezTo>
                <a:cubicBezTo>
                  <a:pt x="1116307" y="5589055"/>
                  <a:pt x="1068643" y="5541393"/>
                  <a:pt x="1018473" y="5498747"/>
                </a:cubicBezTo>
                <a:cubicBezTo>
                  <a:pt x="1863858" y="5353249"/>
                  <a:pt x="2807074" y="5089850"/>
                  <a:pt x="3770361" y="4716074"/>
                </a:cubicBezTo>
                <a:lnTo>
                  <a:pt x="3770361" y="4718583"/>
                </a:lnTo>
                <a:cubicBezTo>
                  <a:pt x="4131594" y="4578417"/>
                  <a:pt x="4479774" y="4429431"/>
                  <a:pt x="4811197" y="4273743"/>
                </a:cubicBezTo>
                <a:close/>
                <a:moveTo>
                  <a:pt x="4939998" y="3025925"/>
                </a:moveTo>
                <a:lnTo>
                  <a:pt x="4939998" y="3540890"/>
                </a:lnTo>
                <a:lnTo>
                  <a:pt x="4670679" y="3664137"/>
                </a:lnTo>
                <a:cubicBezTo>
                  <a:pt x="4300804" y="3829335"/>
                  <a:pt x="3912409" y="3990784"/>
                  <a:pt x="3514490" y="4144120"/>
                </a:cubicBezTo>
                <a:cubicBezTo>
                  <a:pt x="3382163" y="4195232"/>
                  <a:pt x="3249876" y="4245051"/>
                  <a:pt x="3117991" y="4293468"/>
                </a:cubicBezTo>
                <a:lnTo>
                  <a:pt x="2892083" y="4374261"/>
                </a:lnTo>
                <a:lnTo>
                  <a:pt x="2984456" y="4344959"/>
                </a:lnTo>
                <a:cubicBezTo>
                  <a:pt x="3380318" y="4215420"/>
                  <a:pt x="3792937" y="4068551"/>
                  <a:pt x="4214375" y="3905807"/>
                </a:cubicBezTo>
                <a:cubicBezTo>
                  <a:pt x="4354854" y="3851246"/>
                  <a:pt x="4493295" y="3796136"/>
                  <a:pt x="4629448" y="3740620"/>
                </a:cubicBezTo>
                <a:lnTo>
                  <a:pt x="4939998" y="3610914"/>
                </a:lnTo>
                <a:lnTo>
                  <a:pt x="4939998" y="4107750"/>
                </a:lnTo>
                <a:lnTo>
                  <a:pt x="4797755" y="4168895"/>
                </a:lnTo>
                <a:cubicBezTo>
                  <a:pt x="4668227" y="4222673"/>
                  <a:pt x="4536409" y="4275509"/>
                  <a:pt x="4402515" y="4327249"/>
                </a:cubicBezTo>
                <a:lnTo>
                  <a:pt x="4400008" y="4327249"/>
                </a:lnTo>
                <a:cubicBezTo>
                  <a:pt x="3328853" y="4743670"/>
                  <a:pt x="2300345" y="5019613"/>
                  <a:pt x="1447434" y="5145041"/>
                </a:cubicBezTo>
                <a:cubicBezTo>
                  <a:pt x="1399772" y="5097379"/>
                  <a:pt x="1353991" y="5048462"/>
                  <a:pt x="1309777" y="4997977"/>
                </a:cubicBezTo>
                <a:lnTo>
                  <a:pt x="1227590" y="4897703"/>
                </a:lnTo>
                <a:lnTo>
                  <a:pt x="1215160" y="4901159"/>
                </a:lnTo>
                <a:cubicBezTo>
                  <a:pt x="977553" y="4964579"/>
                  <a:pt x="748804" y="5020238"/>
                  <a:pt x="531813" y="5067273"/>
                </a:cubicBezTo>
                <a:cubicBezTo>
                  <a:pt x="456557" y="4966930"/>
                  <a:pt x="388826" y="4861570"/>
                  <a:pt x="328621" y="4751194"/>
                </a:cubicBezTo>
                <a:cubicBezTo>
                  <a:pt x="1168988" y="4477760"/>
                  <a:pt x="2222582" y="4098967"/>
                  <a:pt x="3308787" y="3677526"/>
                </a:cubicBezTo>
                <a:lnTo>
                  <a:pt x="3308787" y="3680035"/>
                </a:lnTo>
                <a:cubicBezTo>
                  <a:pt x="3850635" y="3470570"/>
                  <a:pt x="4379941" y="3258596"/>
                  <a:pt x="4874128" y="3053520"/>
                </a:cubicBezTo>
                <a:close/>
                <a:moveTo>
                  <a:pt x="4939998" y="1092018"/>
                </a:moveTo>
                <a:lnTo>
                  <a:pt x="4939998" y="1242798"/>
                </a:lnTo>
                <a:lnTo>
                  <a:pt x="4939998" y="1263974"/>
                </a:lnTo>
                <a:lnTo>
                  <a:pt x="4939998" y="1691637"/>
                </a:lnTo>
                <a:lnTo>
                  <a:pt x="4694235" y="1768356"/>
                </a:lnTo>
                <a:cubicBezTo>
                  <a:pt x="4298373" y="1897896"/>
                  <a:pt x="3885754" y="2044765"/>
                  <a:pt x="3464316" y="2207508"/>
                </a:cubicBezTo>
                <a:cubicBezTo>
                  <a:pt x="2480962" y="2589436"/>
                  <a:pt x="1597479" y="2998255"/>
                  <a:pt x="899576" y="3385226"/>
                </a:cubicBezTo>
                <a:lnTo>
                  <a:pt x="884259" y="3393983"/>
                </a:lnTo>
                <a:lnTo>
                  <a:pt x="941004" y="3365264"/>
                </a:lnTo>
                <a:cubicBezTo>
                  <a:pt x="1509642" y="3084838"/>
                  <a:pt x="2146384" y="2806740"/>
                  <a:pt x="2809585" y="2551179"/>
                </a:cubicBezTo>
                <a:cubicBezTo>
                  <a:pt x="3472784" y="2295618"/>
                  <a:pt x="4134025" y="2071414"/>
                  <a:pt x="4747985" y="1893879"/>
                </a:cubicBezTo>
                <a:lnTo>
                  <a:pt x="4939998" y="1840464"/>
                </a:lnTo>
                <a:lnTo>
                  <a:pt x="4939998" y="2302780"/>
                </a:lnTo>
                <a:lnTo>
                  <a:pt x="4595678" y="2425437"/>
                </a:lnTo>
                <a:cubicBezTo>
                  <a:pt x="4091458" y="2606995"/>
                  <a:pt x="3557135" y="2807053"/>
                  <a:pt x="3015286" y="3017773"/>
                </a:cubicBezTo>
                <a:cubicBezTo>
                  <a:pt x="1931589" y="3436703"/>
                  <a:pt x="900573" y="3865668"/>
                  <a:pt x="95326" y="4226902"/>
                </a:cubicBezTo>
                <a:cubicBezTo>
                  <a:pt x="57697" y="4109000"/>
                  <a:pt x="25085" y="3991096"/>
                  <a:pt x="0" y="3868177"/>
                </a:cubicBezTo>
                <a:cubicBezTo>
                  <a:pt x="188770" y="3757801"/>
                  <a:pt x="392433" y="3645856"/>
                  <a:pt x="608326" y="3533637"/>
                </a:cubicBezTo>
                <a:lnTo>
                  <a:pt x="609711" y="3532936"/>
                </a:lnTo>
                <a:lnTo>
                  <a:pt x="584178" y="3353923"/>
                </a:lnTo>
                <a:cubicBezTo>
                  <a:pt x="576966" y="3288701"/>
                  <a:pt x="571949" y="3223478"/>
                  <a:pt x="569440" y="3158255"/>
                </a:cubicBezTo>
                <a:cubicBezTo>
                  <a:pt x="1269327" y="2684135"/>
                  <a:pt x="2205020" y="2199982"/>
                  <a:pt x="3276174" y="1786067"/>
                </a:cubicBezTo>
                <a:cubicBezTo>
                  <a:pt x="3677857" y="1630850"/>
                  <a:pt x="4073543" y="1495035"/>
                  <a:pt x="4456220" y="1379283"/>
                </a:cubicBezTo>
                <a:lnTo>
                  <a:pt x="4569094" y="1346730"/>
                </a:lnTo>
                <a:lnTo>
                  <a:pt x="4147023" y="1452080"/>
                </a:lnTo>
                <a:cubicBezTo>
                  <a:pt x="3631538" y="1591142"/>
                  <a:pt x="3096656" y="1766467"/>
                  <a:pt x="2556218" y="1976716"/>
                </a:cubicBezTo>
                <a:cubicBezTo>
                  <a:pt x="1590425" y="2350493"/>
                  <a:pt x="719955" y="2786985"/>
                  <a:pt x="12542" y="3246052"/>
                </a:cubicBezTo>
                <a:cubicBezTo>
                  <a:pt x="12542" y="3180829"/>
                  <a:pt x="17559" y="3115607"/>
                  <a:pt x="25085" y="3050384"/>
                </a:cubicBezTo>
                <a:cubicBezTo>
                  <a:pt x="692361" y="2561213"/>
                  <a:pt x="1527711" y="2114687"/>
                  <a:pt x="2455878" y="1755962"/>
                </a:cubicBezTo>
                <a:lnTo>
                  <a:pt x="2455878" y="1753454"/>
                </a:lnTo>
                <a:cubicBezTo>
                  <a:pt x="3263633" y="1439569"/>
                  <a:pt x="4079072" y="1219795"/>
                  <a:pt x="4834970" y="1105895"/>
                </a:cubicBezTo>
                <a:close/>
                <a:moveTo>
                  <a:pt x="3755311" y="509204"/>
                </a:moveTo>
                <a:cubicBezTo>
                  <a:pt x="3833075" y="524256"/>
                  <a:pt x="3905824" y="544324"/>
                  <a:pt x="3983588" y="564392"/>
                </a:cubicBezTo>
                <a:cubicBezTo>
                  <a:pt x="3381536" y="672261"/>
                  <a:pt x="2761922" y="845353"/>
                  <a:pt x="2157360" y="1078650"/>
                </a:cubicBezTo>
                <a:cubicBezTo>
                  <a:pt x="1552796" y="1311947"/>
                  <a:pt x="983355" y="1600432"/>
                  <a:pt x="476625" y="1919019"/>
                </a:cubicBezTo>
                <a:cubicBezTo>
                  <a:pt x="514254" y="1853796"/>
                  <a:pt x="551883" y="1788574"/>
                  <a:pt x="597036" y="1728368"/>
                </a:cubicBezTo>
                <a:cubicBezTo>
                  <a:pt x="1053593" y="1424831"/>
                  <a:pt x="1560322" y="1163940"/>
                  <a:pt x="2104679" y="953222"/>
                </a:cubicBezTo>
                <a:lnTo>
                  <a:pt x="2102170" y="955728"/>
                </a:lnTo>
                <a:cubicBezTo>
                  <a:pt x="2646528" y="745010"/>
                  <a:pt x="3200920" y="597003"/>
                  <a:pt x="3755311" y="509204"/>
                </a:cubicBezTo>
                <a:close/>
                <a:moveTo>
                  <a:pt x="3919778" y="824"/>
                </a:moveTo>
                <a:cubicBezTo>
                  <a:pt x="4093496" y="4587"/>
                  <a:pt x="4265800" y="21211"/>
                  <a:pt x="4435127" y="50139"/>
                </a:cubicBezTo>
                <a:cubicBezTo>
                  <a:pt x="3875718" y="137938"/>
                  <a:pt x="3293733" y="288451"/>
                  <a:pt x="2711748" y="514222"/>
                </a:cubicBezTo>
                <a:lnTo>
                  <a:pt x="2709239" y="514222"/>
                </a:lnTo>
                <a:cubicBezTo>
                  <a:pt x="2129762" y="739995"/>
                  <a:pt x="1602965" y="1015936"/>
                  <a:pt x="1141390" y="1324491"/>
                </a:cubicBezTo>
                <a:cubicBezTo>
                  <a:pt x="1487572" y="855388"/>
                  <a:pt x="1979249" y="469069"/>
                  <a:pt x="2586320" y="233263"/>
                </a:cubicBezTo>
                <a:cubicBezTo>
                  <a:pt x="2965740" y="87452"/>
                  <a:pt x="3357898" y="12196"/>
                  <a:pt x="3745646" y="1368"/>
                </a:cubicBezTo>
                <a:cubicBezTo>
                  <a:pt x="3803808" y="-256"/>
                  <a:pt x="3861872" y="-431"/>
                  <a:pt x="3919778" y="824"/>
                </a:cubicBezTo>
                <a:close/>
              </a:path>
            </a:pathLst>
          </a:custGeom>
          <a:solidFill>
            <a:schemeClr val="bg1">
              <a:alpha val="3000"/>
            </a:schemeClr>
          </a:solidFill>
          <a:ln w="1292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F926FB7-D1BC-BE93-5BC1-F6CA393EEAC0}"/>
              </a:ext>
            </a:extLst>
          </p:cNvPr>
          <p:cNvSpPr/>
          <p:nvPr userDrawn="1"/>
        </p:nvSpPr>
        <p:spPr>
          <a:xfrm>
            <a:off x="0" y="0"/>
            <a:ext cx="6096000" cy="6489700"/>
          </a:xfrm>
          <a:custGeom>
            <a:avLst/>
            <a:gdLst>
              <a:gd name="connsiteX0" fmla="*/ 0 w 6096000"/>
              <a:gd name="connsiteY0" fmla="*/ 0 h 6480780"/>
              <a:gd name="connsiteX1" fmla="*/ 5950474 w 6096000"/>
              <a:gd name="connsiteY1" fmla="*/ 0 h 6480780"/>
              <a:gd name="connsiteX2" fmla="*/ 5989260 w 6096000"/>
              <a:gd name="connsiteY2" fmla="*/ 168051 h 6480780"/>
              <a:gd name="connsiteX3" fmla="*/ 6096000 w 6096000"/>
              <a:gd name="connsiteY3" fmla="*/ 1226893 h 6480780"/>
              <a:gd name="connsiteX4" fmla="*/ 842113 w 6096000"/>
              <a:gd name="connsiteY4" fmla="*/ 6480780 h 6480780"/>
              <a:gd name="connsiteX5" fmla="*/ 172959 w 6096000"/>
              <a:gd name="connsiteY5" fmla="*/ 6438569 h 6480780"/>
              <a:gd name="connsiteX6" fmla="*/ 0 w 6096000"/>
              <a:gd name="connsiteY6" fmla="*/ 6411039 h 6480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480780">
                <a:moveTo>
                  <a:pt x="0" y="0"/>
                </a:moveTo>
                <a:lnTo>
                  <a:pt x="5950474" y="0"/>
                </a:lnTo>
                <a:lnTo>
                  <a:pt x="5989260" y="168051"/>
                </a:lnTo>
                <a:cubicBezTo>
                  <a:pt x="6059246" y="510067"/>
                  <a:pt x="6096000" y="864188"/>
                  <a:pt x="6096000" y="1226893"/>
                </a:cubicBezTo>
                <a:cubicBezTo>
                  <a:pt x="6096000" y="4128535"/>
                  <a:pt x="3743755" y="6480780"/>
                  <a:pt x="842113" y="6480780"/>
                </a:cubicBezTo>
                <a:cubicBezTo>
                  <a:pt x="615422" y="6480780"/>
                  <a:pt x="392084" y="6466423"/>
                  <a:pt x="172959" y="6438569"/>
                </a:cubicBezTo>
                <a:lnTo>
                  <a:pt x="0" y="6411039"/>
                </a:lnTo>
                <a:close/>
              </a:path>
            </a:pathLst>
          </a:custGeom>
          <a:gradFill flip="none" rotWithShape="1">
            <a:gsLst>
              <a:gs pos="0">
                <a:schemeClr val="accent5"/>
              </a:gs>
              <a:gs pos="100000">
                <a:schemeClr val="accent2"/>
              </a:gs>
            </a:gsLst>
            <a:lin ang="18900000" scaled="1"/>
            <a:tileRect/>
          </a:gradFill>
          <a:ln>
            <a:noFill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lvl="0" algn="ctr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B4AFACE4-8A4C-EEBD-996D-4228570FBE52}"/>
              </a:ext>
            </a:extLst>
          </p:cNvPr>
          <p:cNvSpPr>
            <a:spLocks noGrp="1"/>
          </p:cNvSpPr>
          <p:nvPr userDrawn="1">
            <p:ph type="pic" sz="quarter" idx="14"/>
          </p:nvPr>
        </p:nvSpPr>
        <p:spPr>
          <a:xfrm>
            <a:off x="0" y="1"/>
            <a:ext cx="6096000" cy="5810023"/>
          </a:xfrm>
          <a:custGeom>
            <a:avLst/>
            <a:gdLst>
              <a:gd name="connsiteX0" fmla="*/ 0 w 6096000"/>
              <a:gd name="connsiteY0" fmla="*/ 0 h 5810023"/>
              <a:gd name="connsiteX1" fmla="*/ 5965536 w 6096000"/>
              <a:gd name="connsiteY1" fmla="*/ 0 h 5810023"/>
              <a:gd name="connsiteX2" fmla="*/ 6000307 w 6096000"/>
              <a:gd name="connsiteY2" fmla="*/ 150658 h 5810023"/>
              <a:gd name="connsiteX3" fmla="*/ 6096000 w 6096000"/>
              <a:gd name="connsiteY3" fmla="*/ 1099910 h 5810023"/>
              <a:gd name="connsiteX4" fmla="*/ 1385887 w 6096000"/>
              <a:gd name="connsiteY4" fmla="*/ 5810023 h 5810023"/>
              <a:gd name="connsiteX5" fmla="*/ 208756 w 6096000"/>
              <a:gd name="connsiteY5" fmla="*/ 5661736 h 5810023"/>
              <a:gd name="connsiteX6" fmla="*/ 0 w 6096000"/>
              <a:gd name="connsiteY6" fmla="*/ 5602456 h 58100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5810023">
                <a:moveTo>
                  <a:pt x="0" y="0"/>
                </a:moveTo>
                <a:lnTo>
                  <a:pt x="5965536" y="0"/>
                </a:lnTo>
                <a:lnTo>
                  <a:pt x="6000307" y="150658"/>
                </a:lnTo>
                <a:cubicBezTo>
                  <a:pt x="6063050" y="457275"/>
                  <a:pt x="6096000" y="774745"/>
                  <a:pt x="6096000" y="1099910"/>
                </a:cubicBezTo>
                <a:cubicBezTo>
                  <a:pt x="6096000" y="3701234"/>
                  <a:pt x="3987211" y="5810023"/>
                  <a:pt x="1385887" y="5810023"/>
                </a:cubicBezTo>
                <a:cubicBezTo>
                  <a:pt x="979430" y="5810023"/>
                  <a:pt x="584998" y="5758539"/>
                  <a:pt x="208756" y="5661736"/>
                </a:cubicBezTo>
                <a:lnTo>
                  <a:pt x="0" y="5602456"/>
                </a:lnTo>
                <a:close/>
              </a:path>
            </a:pathLst>
          </a:custGeom>
          <a:pattFill prst="dkUp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effectLst/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7222068-15A5-F627-89E2-0AF8774B5AF1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>
          <a:xfrm>
            <a:off x="11112500" y="6243246"/>
            <a:ext cx="563562" cy="269974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31C82E-7B5F-4FD3-882E-C1FF210412A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880332-BC79-CF44-D900-700169EE1F25}"/>
              </a:ext>
            </a:extLst>
          </p:cNvPr>
          <p:cNvSpPr/>
          <p:nvPr userDrawn="1"/>
        </p:nvSpPr>
        <p:spPr>
          <a:xfrm>
            <a:off x="0" y="6864662"/>
            <a:ext cx="12192000" cy="61247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algn="l">
              <a:lnSpc>
                <a:spcPct val="90000"/>
              </a:lnSpc>
              <a:spcAft>
                <a:spcPts val="200"/>
              </a:spcAft>
            </a:pPr>
            <a:r>
              <a:rPr lang="en-GB" sz="800" b="1">
                <a:solidFill>
                  <a:schemeClr val="bg1"/>
                </a:solidFill>
              </a:rPr>
              <a:t>To add/change the picture: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Click on the image and press BACKSPACE or DELETE on the keyboard &gt; Click on the icon at the centre of the placeholder &gt; Select the chosen image</a:t>
            </a:r>
          </a:p>
          <a:p>
            <a:pPr marL="171450" indent="-171450" algn="l">
              <a:lnSpc>
                <a:spcPct val="90000"/>
              </a:lnSpc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GB" sz="800">
                <a:solidFill>
                  <a:schemeClr val="bg1"/>
                </a:solidFill>
              </a:rPr>
              <a:t>To adjust the crop, right-click on the image &gt; Crop</a:t>
            </a:r>
          </a:p>
          <a:p>
            <a:pPr marL="171450" marR="0" lvl="0" indent="-171450" algn="l" defTabSz="142728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800">
                <a:solidFill>
                  <a:schemeClr val="bg1"/>
                </a:solidFill>
              </a:rPr>
              <a:t>If for any reason the image placeholder loses the rounded shape, click on Reset button in the Home tab at the top. 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F5CBC0C-36CA-95F2-F028-886820AF35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956" r="956"/>
          <a:stretch/>
        </p:blipFill>
        <p:spPr>
          <a:xfrm>
            <a:off x="10543659" y="371929"/>
            <a:ext cx="1132403" cy="3011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A9B2E73-DB5D-68A3-C3E9-7DEE36479C1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338455" y="1520826"/>
            <a:ext cx="5337607" cy="527050"/>
          </a:xfrm>
        </p:spPr>
        <p:txBody>
          <a:bodyPr>
            <a:noAutofit/>
          </a:bodyPr>
          <a:lstStyle>
            <a:lvl1pPr>
              <a:defRPr>
                <a:gradFill flip="none" rotWithShape="1">
                  <a:gsLst>
                    <a:gs pos="0">
                      <a:schemeClr val="accent5"/>
                    </a:gs>
                    <a:gs pos="100000">
                      <a:schemeClr val="accent2"/>
                    </a:gs>
                  </a:gsLst>
                  <a:lin ang="2700000" scaled="1"/>
                  <a:tileRect/>
                </a:gra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550C5C9A-1D16-FFEF-6097-B9DE61D48224}"/>
              </a:ext>
            </a:extLst>
          </p:cNvPr>
          <p:cNvSpPr>
            <a:spLocks noGrp="1"/>
          </p:cNvSpPr>
          <p:nvPr userDrawn="1">
            <p:ph sz="half" idx="1"/>
          </p:nvPr>
        </p:nvSpPr>
        <p:spPr>
          <a:xfrm>
            <a:off x="6338455" y="2274062"/>
            <a:ext cx="5337607" cy="3855277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557418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C71F8A7E-EE4E-4EB6-BDF8-B975A4517C8A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D8E383C0-EF03-4E6E-9BF5-F4E1C4A59B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8DCC8237-1310-4FF4-E1D6-4239C5F6EF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6763" y="1068547"/>
            <a:ext cx="5461000" cy="276486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5B034B8-1C32-B99B-5317-042EDD77A08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6763" y="1625600"/>
            <a:ext cx="10945812" cy="3484563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72884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8" grpId="0" build="p">
        <p:tmplLst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D334CDD-B2B8-442D-A296-AF07112166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56588" y="0"/>
            <a:ext cx="3935409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4" y="489600"/>
            <a:ext cx="7200900" cy="498598"/>
          </a:xfrm>
        </p:spPr>
        <p:txBody>
          <a:bodyPr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F18C8F3-335F-3F12-3652-EF12DCEF83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763" y="1068547"/>
            <a:ext cx="5461000" cy="276486"/>
          </a:xfrm>
        </p:spPr>
        <p:txBody>
          <a:bodyPr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10F6566-D4A2-A485-8C41-384B67719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1625600"/>
            <a:ext cx="7200900" cy="3484563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1E21AB9C-3449-83B6-C51C-967B884A70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9648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build="p">
        <p:tmplLst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(medium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D334CDD-B2B8-442D-A296-AF07112166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5997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4" y="489600"/>
            <a:ext cx="5068610" cy="498598"/>
          </a:xfrm>
        </p:spPr>
        <p:txBody>
          <a:bodyPr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6" y="6260679"/>
            <a:ext cx="4742328" cy="3290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F18C8F3-335F-3F12-3652-EF12DCEF83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763" y="1068547"/>
            <a:ext cx="5068610" cy="27648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10F6566-D4A2-A485-8C41-384B67719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1625600"/>
            <a:ext cx="5068611" cy="3484563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129212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build="p">
        <p:tmplLst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D334CDD-B2B8-442D-A296-AF07112166C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224338" y="0"/>
            <a:ext cx="7967659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4" y="489600"/>
            <a:ext cx="3167501" cy="498598"/>
          </a:xfrm>
        </p:spPr>
        <p:txBody>
          <a:bodyPr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6" y="6260679"/>
            <a:ext cx="4742328" cy="3290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8F18C8F3-335F-3F12-3652-EF12DCEF83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763" y="1068547"/>
            <a:ext cx="3167502" cy="545790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10F6566-D4A2-A485-8C41-384B67719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4" y="1625600"/>
            <a:ext cx="3167502" cy="3484563"/>
          </a:xfrm>
        </p:spPr>
        <p:txBody>
          <a:bodyPr/>
          <a:lstStyle/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3" name="Picture 2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3683FAC0-6881-F93A-EAA9-700ACAD25B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498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 build="p">
        <p:tmplLst>
          <p:tmpl lvl="2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Your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BD334CDD-B2B8-442D-A296-AF07112166C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5997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4" y="489600"/>
            <a:ext cx="5068610" cy="498598"/>
          </a:xfrm>
        </p:spPr>
        <p:txBody>
          <a:bodyPr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6" y="6260679"/>
            <a:ext cx="4742328" cy="32903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010F6566-D4A2-A485-8C41-384B677198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6763" y="1625600"/>
            <a:ext cx="5068611" cy="34845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First level</a:t>
            </a:r>
          </a:p>
        </p:txBody>
      </p:sp>
      <p:pic>
        <p:nvPicPr>
          <p:cNvPr id="3" name="Picture 2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FEDE9794-00B2-8A8A-DAB0-FD8AB3CC9E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687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1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B72E2D7-18BF-47B7-BF76-D5A29682BEC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1990531"/>
            <a:ext cx="5040000" cy="3529013"/>
          </a:xfrm>
        </p:spPr>
        <p:txBody>
          <a:bodyPr/>
          <a:lstStyle/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Text</a:t>
            </a:r>
          </a:p>
          <a:p>
            <a:pPr lvl="2"/>
            <a:r>
              <a:rPr lang="en-US" noProof="0"/>
              <a:t>Text</a:t>
            </a:r>
          </a:p>
          <a:p>
            <a:pPr lvl="3"/>
            <a:r>
              <a:rPr lang="en-US" noProof="0"/>
              <a:t>Text</a:t>
            </a:r>
          </a:p>
          <a:p>
            <a:pPr lvl="4"/>
            <a:r>
              <a:rPr lang="en-US" noProof="0"/>
              <a:t>Tex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6CABA9F4-EC2E-46AD-9797-CB04F2171C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990531"/>
            <a:ext cx="5616575" cy="3529013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048F0148-5B51-06B0-6C08-D3EB46717D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6762" y="1068547"/>
            <a:ext cx="7134591" cy="27648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B6456FE3-53BB-A88E-ADCB-1A48222B9D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1443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B72E2D7-18BF-47B7-BF76-D5A29682BEC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66763" y="1995219"/>
            <a:ext cx="5040000" cy="3529013"/>
          </a:xfrm>
        </p:spPr>
        <p:txBody>
          <a:bodyPr/>
          <a:lstStyle/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Text</a:t>
            </a:r>
          </a:p>
          <a:p>
            <a:pPr lvl="2"/>
            <a:r>
              <a:rPr lang="en-US" noProof="0"/>
              <a:t>Text</a:t>
            </a:r>
          </a:p>
          <a:p>
            <a:pPr lvl="3"/>
            <a:r>
              <a:rPr lang="en-US" noProof="0"/>
              <a:t>Text</a:t>
            </a:r>
          </a:p>
          <a:p>
            <a:pPr lvl="4"/>
            <a:r>
              <a:rPr lang="en-US" noProof="0"/>
              <a:t>Text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6CABA9F4-EC2E-46AD-9797-CB04F2171C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1995219"/>
            <a:ext cx="2664000" cy="3529013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8" name="Bildplatzhalter 6">
            <a:extLst>
              <a:ext uri="{FF2B5EF4-FFF2-40B4-BE49-F238E27FC236}">
                <a16:creationId xmlns:a16="http://schemas.microsoft.com/office/drawing/2014/main" id="{6D203048-ED77-4FA0-B861-311EDDA7C0E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048575" y="1995219"/>
            <a:ext cx="2664000" cy="3529013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5E68943C-6495-72FA-6180-474EAFAD50C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6763" y="1068547"/>
            <a:ext cx="6543748" cy="27648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8E1B7BF3-05C0-9296-1A63-C8E26226C3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0961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5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4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25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and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/>
              <a:t>Headli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/>
          <a:p>
            <a:fld id="{C71F8A7E-EE4E-4EB6-BDF8-B975A4517C8A}" type="slidenum">
              <a:rPr lang="de-DE" smtClean="0"/>
              <a:t>‹#›</a:t>
            </a:fld>
            <a:endParaRPr lang="de-DE"/>
          </a:p>
        </p:txBody>
      </p:sp>
      <p:sp>
        <p:nvSpPr>
          <p:cNvPr id="9" name="Bildplatzhalter 6">
            <a:extLst>
              <a:ext uri="{FF2B5EF4-FFF2-40B4-BE49-F238E27FC236}">
                <a16:creationId xmlns:a16="http://schemas.microsoft.com/office/drawing/2014/main" id="{6CABA9F4-EC2E-46AD-9797-CB04F2171C5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763" y="2430196"/>
            <a:ext cx="3457575" cy="197167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E3D56709-E809-4275-A03E-DE58907119C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6763" y="2060865"/>
            <a:ext cx="3457575" cy="269689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Headline</a:t>
            </a: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E2FA7C2D-95D8-4911-85D4-E710630E3F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6763" y="4548555"/>
            <a:ext cx="3457575" cy="975677"/>
          </a:xfrm>
        </p:spPr>
        <p:txBody>
          <a:bodyPr/>
          <a:lstStyle>
            <a:lvl1pPr>
              <a:defRPr/>
            </a:lvl1pPr>
          </a:lstStyle>
          <a:p>
            <a:pPr lvl="1"/>
            <a:r>
              <a:rPr lang="en-US" noProof="0"/>
              <a:t>Text</a:t>
            </a:r>
          </a:p>
        </p:txBody>
      </p:sp>
      <p:sp>
        <p:nvSpPr>
          <p:cNvPr id="13" name="Bildplatzhalter 6">
            <a:extLst>
              <a:ext uri="{FF2B5EF4-FFF2-40B4-BE49-F238E27FC236}">
                <a16:creationId xmlns:a16="http://schemas.microsoft.com/office/drawing/2014/main" id="{7C0987C8-BDF6-4AF0-91B5-FD0DF0F33AE5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508500" y="2430196"/>
            <a:ext cx="3457575" cy="197167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530857B4-C3BD-4B54-8483-894A0321D96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08500" y="2060865"/>
            <a:ext cx="3457575" cy="269689"/>
          </a:xfrm>
        </p:spPr>
        <p:txBody>
          <a:bodyPr>
            <a:noAutofit/>
          </a:bodyPr>
          <a:lstStyle>
            <a:lvl1pPr marL="0" indent="0">
              <a:buNone/>
              <a:defRPr lang="en-US" sz="1800" b="1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Headli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F8A912E1-5292-4930-81B3-9C980AFCA9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08500" y="4548555"/>
            <a:ext cx="3457575" cy="975677"/>
          </a:xfrm>
        </p:spPr>
        <p:txBody>
          <a:bodyPr/>
          <a:lstStyle>
            <a:lvl1pPr>
              <a:defRPr/>
            </a:lvl1pPr>
          </a:lstStyle>
          <a:p>
            <a:pPr lvl="1"/>
            <a:r>
              <a:rPr lang="en-US" noProof="0"/>
              <a:t>Text</a:t>
            </a:r>
          </a:p>
        </p:txBody>
      </p:sp>
      <p:sp>
        <p:nvSpPr>
          <p:cNvPr id="16" name="Bildplatzhalter 6">
            <a:extLst>
              <a:ext uri="{FF2B5EF4-FFF2-40B4-BE49-F238E27FC236}">
                <a16:creationId xmlns:a16="http://schemas.microsoft.com/office/drawing/2014/main" id="{FC48D5EE-0867-4C93-9E5C-C865AC7FFEC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256588" y="2430196"/>
            <a:ext cx="3455987" cy="1971674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en-US" noProof="0"/>
              <a:t>Pictur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EA8590EF-59F3-4593-8CAA-FDEB5336221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56588" y="2060865"/>
            <a:ext cx="3455987" cy="269689"/>
          </a:xfrm>
        </p:spPr>
        <p:txBody>
          <a:bodyPr>
            <a:noAutofit/>
          </a:bodyPr>
          <a:lstStyle>
            <a:lvl1pPr marL="0" indent="0">
              <a:buNone/>
              <a:defRPr lang="en-US" sz="1800" b="1" kern="1200" noProof="0" dirty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Headli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4600BB09-87C7-4E94-9F35-69BC4C38957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256588" y="4548555"/>
            <a:ext cx="3455987" cy="975677"/>
          </a:xfrm>
        </p:spPr>
        <p:txBody>
          <a:bodyPr/>
          <a:lstStyle>
            <a:lvl1pPr algn="l">
              <a:defRPr/>
            </a:lvl1pPr>
          </a:lstStyle>
          <a:p>
            <a:pPr lvl="1"/>
            <a:r>
              <a:rPr lang="en-US" noProof="0"/>
              <a:t>Text</a:t>
            </a:r>
          </a:p>
        </p:txBody>
      </p:sp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FA663FE1-051F-8BE0-9A57-C75AE801028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6763" y="1068547"/>
            <a:ext cx="6543748" cy="276486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3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A0573512-EEF6-A625-C5D3-317E66C808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8124" y="6140209"/>
            <a:ext cx="2187309" cy="41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448046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iking text (blue)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476884"/>
            <a:ext cx="10945812" cy="5436554"/>
          </a:xfrm>
        </p:spPr>
        <p:txBody>
          <a:bodyPr/>
          <a:lstStyle>
            <a:lvl1pPr>
              <a:lnSpc>
                <a:spcPct val="92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1F8A7E-EE4E-4EB6-BDF8-B975A4517C8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4" name="Picture 3" descr="A black and white logo&#10;&#10;AI-generated content may be incorrect.">
            <a:extLst>
              <a:ext uri="{FF2B5EF4-FFF2-40B4-BE49-F238E27FC236}">
                <a16:creationId xmlns:a16="http://schemas.microsoft.com/office/drawing/2014/main" id="{26D1F9FF-47CF-B64F-F590-9FD9D2E17C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179" y="6071947"/>
            <a:ext cx="2363372" cy="61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3709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iking text and Pictur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6">
            <a:extLst>
              <a:ext uri="{FF2B5EF4-FFF2-40B4-BE49-F238E27FC236}">
                <a16:creationId xmlns:a16="http://schemas.microsoft.com/office/drawing/2014/main" id="{F04A56D7-8ED9-4243-BD7C-9970C010ECC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0"/>
            <a:ext cx="6095998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100000"/>
              </a:lnSpc>
              <a:spcAft>
                <a:spcPts val="0"/>
              </a:spcAft>
              <a:buNone/>
              <a:defRPr/>
            </a:lvl1pPr>
          </a:lstStyle>
          <a:p>
            <a:r>
              <a:rPr lang="de-DE"/>
              <a:t>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41E51D-DCCE-431F-AAFE-6D59C72FEA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6763" y="476884"/>
            <a:ext cx="5040000" cy="509691"/>
          </a:xfrm>
        </p:spPr>
        <p:txBody>
          <a:bodyPr/>
          <a:lstStyle>
            <a:lvl1pPr>
              <a:lnSpc>
                <a:spcPct val="92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line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A0C15EA-3984-4507-AFA7-3C9E3DB791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93045" y="6260679"/>
            <a:ext cx="8280659" cy="329034"/>
          </a:xfrm>
          <a:prstGeom prst="rect">
            <a:avLst/>
          </a:prstGeom>
        </p:spPr>
        <p:txBody>
          <a:bodyPr/>
          <a:lstStyle/>
          <a:p>
            <a:r>
              <a:rPr lang="de-DE"/>
              <a:t>Presentation title · 00.00.2021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2B4D167-DBAB-4D32-ADD0-679E4F1BB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66763" y="6260679"/>
            <a:ext cx="288184" cy="32903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71F8A7E-EE4E-4EB6-BDF8-B975A4517C8A}" type="slidenum">
              <a:rPr lang="de-DE" smtClean="0"/>
              <a:pPr/>
              <a:t>‹#›</a:t>
            </a:fld>
            <a:endParaRPr lang="de-DE"/>
          </a:p>
        </p:txBody>
      </p:sp>
      <p:pic>
        <p:nvPicPr>
          <p:cNvPr id="3" name="Picture 2" descr="A black and white logo&#10;&#10;AI-generated content may be incorrect.">
            <a:extLst>
              <a:ext uri="{FF2B5EF4-FFF2-40B4-BE49-F238E27FC236}">
                <a16:creationId xmlns:a16="http://schemas.microsoft.com/office/drawing/2014/main" id="{257FFABB-1048-D273-FBB3-738B8E5E80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8179" y="6071947"/>
            <a:ext cx="2363372" cy="61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012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slideLayout" Target="../slideLayouts/slideLayout49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slideLayout" Target="../slideLayouts/slideLayout48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theme" Target="../theme/theme2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slideLayout" Target="../slideLayouts/slideLayout47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tags" Target="../tags/tag1.xml"/><Relationship Id="rId26" Type="http://schemas.openxmlformats.org/officeDocument/2006/relationships/tags" Target="../tags/tag9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4.xml"/><Relationship Id="rId34" Type="http://schemas.openxmlformats.org/officeDocument/2006/relationships/tags" Target="../tags/tag17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theme" Target="../theme/theme4.xml"/><Relationship Id="rId25" Type="http://schemas.openxmlformats.org/officeDocument/2006/relationships/tags" Target="../tags/tag8.xml"/><Relationship Id="rId33" Type="http://schemas.openxmlformats.org/officeDocument/2006/relationships/tags" Target="../tags/tag16.xml"/><Relationship Id="rId38" Type="http://schemas.openxmlformats.org/officeDocument/2006/relationships/tags" Target="../tags/tag21.xml"/><Relationship Id="rId2" Type="http://schemas.openxmlformats.org/officeDocument/2006/relationships/slideLayout" Target="../slideLayouts/slideLayout58.xml"/><Relationship Id="rId16" Type="http://schemas.openxmlformats.org/officeDocument/2006/relationships/slideLayout" Target="../slideLayouts/slideLayout72.xml"/><Relationship Id="rId20" Type="http://schemas.openxmlformats.org/officeDocument/2006/relationships/tags" Target="../tags/tag3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tags" Target="../tags/tag7.xml"/><Relationship Id="rId32" Type="http://schemas.openxmlformats.org/officeDocument/2006/relationships/tags" Target="../tags/tag15.xml"/><Relationship Id="rId37" Type="http://schemas.openxmlformats.org/officeDocument/2006/relationships/tags" Target="../tags/tag20.xml"/><Relationship Id="rId40" Type="http://schemas.openxmlformats.org/officeDocument/2006/relationships/image" Target="../media/image26.emf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tags" Target="../tags/tag6.xml"/><Relationship Id="rId28" Type="http://schemas.openxmlformats.org/officeDocument/2006/relationships/tags" Target="../tags/tag11.xml"/><Relationship Id="rId36" Type="http://schemas.openxmlformats.org/officeDocument/2006/relationships/tags" Target="../tags/tag19.xml"/><Relationship Id="rId10" Type="http://schemas.openxmlformats.org/officeDocument/2006/relationships/slideLayout" Target="../slideLayouts/slideLayout66.xml"/><Relationship Id="rId19" Type="http://schemas.openxmlformats.org/officeDocument/2006/relationships/tags" Target="../tags/tag2.xml"/><Relationship Id="rId31" Type="http://schemas.openxmlformats.org/officeDocument/2006/relationships/tags" Target="../tags/tag14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tags" Target="../tags/tag5.xml"/><Relationship Id="rId27" Type="http://schemas.openxmlformats.org/officeDocument/2006/relationships/tags" Target="../tags/tag10.xml"/><Relationship Id="rId30" Type="http://schemas.openxmlformats.org/officeDocument/2006/relationships/tags" Target="../tags/tag13.xml"/><Relationship Id="rId35" Type="http://schemas.openxmlformats.org/officeDocument/2006/relationships/tags" Target="../tags/tag18.xml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26" Type="http://schemas.openxmlformats.org/officeDocument/2006/relationships/slideLayout" Target="../slideLayouts/slideLayout98.xml"/><Relationship Id="rId3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93.xml"/><Relationship Id="rId34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slideLayout" Target="../slideLayouts/slideLayout97.xml"/><Relationship Id="rId33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92.xml"/><Relationship Id="rId29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slideLayout" Target="../slideLayouts/slideLayout96.xml"/><Relationship Id="rId32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slideLayout" Target="../slideLayouts/slideLayout95.xml"/><Relationship Id="rId28" Type="http://schemas.openxmlformats.org/officeDocument/2006/relationships/slideLayout" Target="../slideLayouts/slideLayout100.xml"/><Relationship Id="rId36" Type="http://schemas.openxmlformats.org/officeDocument/2006/relationships/theme" Target="../theme/theme5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31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slideLayout" Target="../slideLayouts/slideLayout94.xml"/><Relationship Id="rId27" Type="http://schemas.openxmlformats.org/officeDocument/2006/relationships/slideLayout" Target="../slideLayouts/slideLayout99.xml"/><Relationship Id="rId30" Type="http://schemas.openxmlformats.org/officeDocument/2006/relationships/slideLayout" Target="../slideLayouts/slideLayout102.xml"/><Relationship Id="rId35" Type="http://schemas.openxmlformats.org/officeDocument/2006/relationships/slideLayout" Target="../slideLayouts/slideLayout107.xml"/><Relationship Id="rId8" Type="http://schemas.openxmlformats.org/officeDocument/2006/relationships/slideLayout" Target="../slideLayouts/slideLayout8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11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112.xml"/><Relationship Id="rId10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11.xml"/><Relationship Id="rId9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9586A84-2BAF-59CF-F8ED-38710BBEDCEE}"/>
              </a:ext>
            </a:extLst>
          </p:cNvPr>
          <p:cNvSpPr/>
          <p:nvPr/>
        </p:nvSpPr>
        <p:spPr>
          <a:xfrm>
            <a:off x="7252002" y="1109664"/>
            <a:ext cx="4939998" cy="5748336"/>
          </a:xfrm>
          <a:custGeom>
            <a:avLst/>
            <a:gdLst>
              <a:gd name="connsiteX0" fmla="*/ 4939998 w 4939998"/>
              <a:gd name="connsiteY0" fmla="*/ 5605289 h 5748336"/>
              <a:gd name="connsiteX1" fmla="*/ 4939998 w 4939998"/>
              <a:gd name="connsiteY1" fmla="*/ 5748336 h 5748336"/>
              <a:gd name="connsiteX2" fmla="*/ 4538566 w 4939998"/>
              <a:gd name="connsiteY2" fmla="*/ 5748336 h 5748336"/>
              <a:gd name="connsiteX3" fmla="*/ 4939998 w 4939998"/>
              <a:gd name="connsiteY3" fmla="*/ 5274922 h 5748336"/>
              <a:gd name="connsiteX4" fmla="*/ 4939998 w 4939998"/>
              <a:gd name="connsiteY4" fmla="*/ 5420809 h 5748336"/>
              <a:gd name="connsiteX5" fmla="*/ 4622567 w 4939998"/>
              <a:gd name="connsiteY5" fmla="*/ 5574357 h 5748336"/>
              <a:gd name="connsiteX6" fmla="*/ 4221903 w 4939998"/>
              <a:gd name="connsiteY6" fmla="*/ 5742079 h 5748336"/>
              <a:gd name="connsiteX7" fmla="*/ 4204369 w 4939998"/>
              <a:gd name="connsiteY7" fmla="*/ 5748336 h 5748336"/>
              <a:gd name="connsiteX8" fmla="*/ 3806880 w 4939998"/>
              <a:gd name="connsiteY8" fmla="*/ 5748336 h 5748336"/>
              <a:gd name="connsiteX9" fmla="*/ 4166715 w 4939998"/>
              <a:gd name="connsiteY9" fmla="*/ 5619158 h 5748336"/>
              <a:gd name="connsiteX10" fmla="*/ 4166715 w 4939998"/>
              <a:gd name="connsiteY10" fmla="*/ 5614140 h 5748336"/>
              <a:gd name="connsiteX11" fmla="*/ 4613120 w 4939998"/>
              <a:gd name="connsiteY11" fmla="*/ 5429213 h 5748336"/>
              <a:gd name="connsiteX12" fmla="*/ 4939998 w 4939998"/>
              <a:gd name="connsiteY12" fmla="*/ 4211322 h 5748336"/>
              <a:gd name="connsiteX13" fmla="*/ 4939998 w 4939998"/>
              <a:gd name="connsiteY13" fmla="*/ 4465357 h 5748336"/>
              <a:gd name="connsiteX14" fmla="*/ 4868155 w 4939998"/>
              <a:gd name="connsiteY14" fmla="*/ 4502214 h 5748336"/>
              <a:gd name="connsiteX15" fmla="*/ 3868196 w 4939998"/>
              <a:gd name="connsiteY15" fmla="*/ 4939336 h 5748336"/>
              <a:gd name="connsiteX16" fmla="*/ 1171495 w 4939998"/>
              <a:gd name="connsiteY16" fmla="*/ 5629193 h 5748336"/>
              <a:gd name="connsiteX17" fmla="*/ 1018473 w 4939998"/>
              <a:gd name="connsiteY17" fmla="*/ 5498747 h 5748336"/>
              <a:gd name="connsiteX18" fmla="*/ 3770361 w 4939998"/>
              <a:gd name="connsiteY18" fmla="*/ 4716074 h 5748336"/>
              <a:gd name="connsiteX19" fmla="*/ 3770361 w 4939998"/>
              <a:gd name="connsiteY19" fmla="*/ 4718583 h 5748336"/>
              <a:gd name="connsiteX20" fmla="*/ 4811197 w 4939998"/>
              <a:gd name="connsiteY20" fmla="*/ 4273743 h 5748336"/>
              <a:gd name="connsiteX21" fmla="*/ 4939998 w 4939998"/>
              <a:gd name="connsiteY21" fmla="*/ 3025925 h 5748336"/>
              <a:gd name="connsiteX22" fmla="*/ 4939998 w 4939998"/>
              <a:gd name="connsiteY22" fmla="*/ 3540890 h 5748336"/>
              <a:gd name="connsiteX23" fmla="*/ 4670679 w 4939998"/>
              <a:gd name="connsiteY23" fmla="*/ 3664137 h 5748336"/>
              <a:gd name="connsiteX24" fmla="*/ 3514490 w 4939998"/>
              <a:gd name="connsiteY24" fmla="*/ 4144120 h 5748336"/>
              <a:gd name="connsiteX25" fmla="*/ 3117991 w 4939998"/>
              <a:gd name="connsiteY25" fmla="*/ 4293468 h 5748336"/>
              <a:gd name="connsiteX26" fmla="*/ 2892083 w 4939998"/>
              <a:gd name="connsiteY26" fmla="*/ 4374261 h 5748336"/>
              <a:gd name="connsiteX27" fmla="*/ 2984456 w 4939998"/>
              <a:gd name="connsiteY27" fmla="*/ 4344959 h 5748336"/>
              <a:gd name="connsiteX28" fmla="*/ 4214375 w 4939998"/>
              <a:gd name="connsiteY28" fmla="*/ 3905807 h 5748336"/>
              <a:gd name="connsiteX29" fmla="*/ 4629448 w 4939998"/>
              <a:gd name="connsiteY29" fmla="*/ 3740620 h 5748336"/>
              <a:gd name="connsiteX30" fmla="*/ 4939998 w 4939998"/>
              <a:gd name="connsiteY30" fmla="*/ 3610914 h 5748336"/>
              <a:gd name="connsiteX31" fmla="*/ 4939998 w 4939998"/>
              <a:gd name="connsiteY31" fmla="*/ 4107750 h 5748336"/>
              <a:gd name="connsiteX32" fmla="*/ 4797755 w 4939998"/>
              <a:gd name="connsiteY32" fmla="*/ 4168895 h 5748336"/>
              <a:gd name="connsiteX33" fmla="*/ 4402515 w 4939998"/>
              <a:gd name="connsiteY33" fmla="*/ 4327249 h 5748336"/>
              <a:gd name="connsiteX34" fmla="*/ 4400008 w 4939998"/>
              <a:gd name="connsiteY34" fmla="*/ 4327249 h 5748336"/>
              <a:gd name="connsiteX35" fmla="*/ 1447434 w 4939998"/>
              <a:gd name="connsiteY35" fmla="*/ 5145041 h 5748336"/>
              <a:gd name="connsiteX36" fmla="*/ 1309777 w 4939998"/>
              <a:gd name="connsiteY36" fmla="*/ 4997977 h 5748336"/>
              <a:gd name="connsiteX37" fmla="*/ 1227590 w 4939998"/>
              <a:gd name="connsiteY37" fmla="*/ 4897703 h 5748336"/>
              <a:gd name="connsiteX38" fmla="*/ 1215160 w 4939998"/>
              <a:gd name="connsiteY38" fmla="*/ 4901159 h 5748336"/>
              <a:gd name="connsiteX39" fmla="*/ 531813 w 4939998"/>
              <a:gd name="connsiteY39" fmla="*/ 5067273 h 5748336"/>
              <a:gd name="connsiteX40" fmla="*/ 328621 w 4939998"/>
              <a:gd name="connsiteY40" fmla="*/ 4751194 h 5748336"/>
              <a:gd name="connsiteX41" fmla="*/ 3308787 w 4939998"/>
              <a:gd name="connsiteY41" fmla="*/ 3677526 h 5748336"/>
              <a:gd name="connsiteX42" fmla="*/ 3308787 w 4939998"/>
              <a:gd name="connsiteY42" fmla="*/ 3680035 h 5748336"/>
              <a:gd name="connsiteX43" fmla="*/ 4874128 w 4939998"/>
              <a:gd name="connsiteY43" fmla="*/ 3053520 h 5748336"/>
              <a:gd name="connsiteX44" fmla="*/ 4939998 w 4939998"/>
              <a:gd name="connsiteY44" fmla="*/ 1092018 h 5748336"/>
              <a:gd name="connsiteX45" fmla="*/ 4939998 w 4939998"/>
              <a:gd name="connsiteY45" fmla="*/ 1242798 h 5748336"/>
              <a:gd name="connsiteX46" fmla="*/ 4939998 w 4939998"/>
              <a:gd name="connsiteY46" fmla="*/ 1263974 h 5748336"/>
              <a:gd name="connsiteX47" fmla="*/ 4939998 w 4939998"/>
              <a:gd name="connsiteY47" fmla="*/ 1691637 h 5748336"/>
              <a:gd name="connsiteX48" fmla="*/ 4694235 w 4939998"/>
              <a:gd name="connsiteY48" fmla="*/ 1768356 h 5748336"/>
              <a:gd name="connsiteX49" fmla="*/ 3464316 w 4939998"/>
              <a:gd name="connsiteY49" fmla="*/ 2207508 h 5748336"/>
              <a:gd name="connsiteX50" fmla="*/ 899576 w 4939998"/>
              <a:gd name="connsiteY50" fmla="*/ 3385226 h 5748336"/>
              <a:gd name="connsiteX51" fmla="*/ 884259 w 4939998"/>
              <a:gd name="connsiteY51" fmla="*/ 3393983 h 5748336"/>
              <a:gd name="connsiteX52" fmla="*/ 941004 w 4939998"/>
              <a:gd name="connsiteY52" fmla="*/ 3365264 h 5748336"/>
              <a:gd name="connsiteX53" fmla="*/ 2809585 w 4939998"/>
              <a:gd name="connsiteY53" fmla="*/ 2551179 h 5748336"/>
              <a:gd name="connsiteX54" fmla="*/ 4747985 w 4939998"/>
              <a:gd name="connsiteY54" fmla="*/ 1893879 h 5748336"/>
              <a:gd name="connsiteX55" fmla="*/ 4939998 w 4939998"/>
              <a:gd name="connsiteY55" fmla="*/ 1840464 h 5748336"/>
              <a:gd name="connsiteX56" fmla="*/ 4939998 w 4939998"/>
              <a:gd name="connsiteY56" fmla="*/ 2302780 h 5748336"/>
              <a:gd name="connsiteX57" fmla="*/ 4595678 w 4939998"/>
              <a:gd name="connsiteY57" fmla="*/ 2425437 h 5748336"/>
              <a:gd name="connsiteX58" fmla="*/ 3015286 w 4939998"/>
              <a:gd name="connsiteY58" fmla="*/ 3017773 h 5748336"/>
              <a:gd name="connsiteX59" fmla="*/ 95326 w 4939998"/>
              <a:gd name="connsiteY59" fmla="*/ 4226902 h 5748336"/>
              <a:gd name="connsiteX60" fmla="*/ 0 w 4939998"/>
              <a:gd name="connsiteY60" fmla="*/ 3868177 h 5748336"/>
              <a:gd name="connsiteX61" fmla="*/ 608326 w 4939998"/>
              <a:gd name="connsiteY61" fmla="*/ 3533637 h 5748336"/>
              <a:gd name="connsiteX62" fmla="*/ 609711 w 4939998"/>
              <a:gd name="connsiteY62" fmla="*/ 3532936 h 5748336"/>
              <a:gd name="connsiteX63" fmla="*/ 584178 w 4939998"/>
              <a:gd name="connsiteY63" fmla="*/ 3353923 h 5748336"/>
              <a:gd name="connsiteX64" fmla="*/ 569440 w 4939998"/>
              <a:gd name="connsiteY64" fmla="*/ 3158255 h 5748336"/>
              <a:gd name="connsiteX65" fmla="*/ 3276174 w 4939998"/>
              <a:gd name="connsiteY65" fmla="*/ 1786067 h 5748336"/>
              <a:gd name="connsiteX66" fmla="*/ 4456220 w 4939998"/>
              <a:gd name="connsiteY66" fmla="*/ 1379283 h 5748336"/>
              <a:gd name="connsiteX67" fmla="*/ 4569094 w 4939998"/>
              <a:gd name="connsiteY67" fmla="*/ 1346730 h 5748336"/>
              <a:gd name="connsiteX68" fmla="*/ 4147023 w 4939998"/>
              <a:gd name="connsiteY68" fmla="*/ 1452080 h 5748336"/>
              <a:gd name="connsiteX69" fmla="*/ 2556218 w 4939998"/>
              <a:gd name="connsiteY69" fmla="*/ 1976716 h 5748336"/>
              <a:gd name="connsiteX70" fmla="*/ 12542 w 4939998"/>
              <a:gd name="connsiteY70" fmla="*/ 3246052 h 5748336"/>
              <a:gd name="connsiteX71" fmla="*/ 25085 w 4939998"/>
              <a:gd name="connsiteY71" fmla="*/ 3050384 h 5748336"/>
              <a:gd name="connsiteX72" fmla="*/ 2455878 w 4939998"/>
              <a:gd name="connsiteY72" fmla="*/ 1755962 h 5748336"/>
              <a:gd name="connsiteX73" fmla="*/ 2455878 w 4939998"/>
              <a:gd name="connsiteY73" fmla="*/ 1753454 h 5748336"/>
              <a:gd name="connsiteX74" fmla="*/ 4834970 w 4939998"/>
              <a:gd name="connsiteY74" fmla="*/ 1105895 h 5748336"/>
              <a:gd name="connsiteX75" fmla="*/ 3755311 w 4939998"/>
              <a:gd name="connsiteY75" fmla="*/ 509204 h 5748336"/>
              <a:gd name="connsiteX76" fmla="*/ 3983588 w 4939998"/>
              <a:gd name="connsiteY76" fmla="*/ 564392 h 5748336"/>
              <a:gd name="connsiteX77" fmla="*/ 2157360 w 4939998"/>
              <a:gd name="connsiteY77" fmla="*/ 1078650 h 5748336"/>
              <a:gd name="connsiteX78" fmla="*/ 476625 w 4939998"/>
              <a:gd name="connsiteY78" fmla="*/ 1919019 h 5748336"/>
              <a:gd name="connsiteX79" fmla="*/ 597036 w 4939998"/>
              <a:gd name="connsiteY79" fmla="*/ 1728368 h 5748336"/>
              <a:gd name="connsiteX80" fmla="*/ 2104679 w 4939998"/>
              <a:gd name="connsiteY80" fmla="*/ 953222 h 5748336"/>
              <a:gd name="connsiteX81" fmla="*/ 2102170 w 4939998"/>
              <a:gd name="connsiteY81" fmla="*/ 955728 h 5748336"/>
              <a:gd name="connsiteX82" fmla="*/ 3755311 w 4939998"/>
              <a:gd name="connsiteY82" fmla="*/ 509204 h 5748336"/>
              <a:gd name="connsiteX83" fmla="*/ 3919778 w 4939998"/>
              <a:gd name="connsiteY83" fmla="*/ 824 h 5748336"/>
              <a:gd name="connsiteX84" fmla="*/ 4435127 w 4939998"/>
              <a:gd name="connsiteY84" fmla="*/ 50139 h 5748336"/>
              <a:gd name="connsiteX85" fmla="*/ 2711748 w 4939998"/>
              <a:gd name="connsiteY85" fmla="*/ 514222 h 5748336"/>
              <a:gd name="connsiteX86" fmla="*/ 2709239 w 4939998"/>
              <a:gd name="connsiteY86" fmla="*/ 514222 h 5748336"/>
              <a:gd name="connsiteX87" fmla="*/ 1141390 w 4939998"/>
              <a:gd name="connsiteY87" fmla="*/ 1324491 h 5748336"/>
              <a:gd name="connsiteX88" fmla="*/ 2586320 w 4939998"/>
              <a:gd name="connsiteY88" fmla="*/ 233263 h 5748336"/>
              <a:gd name="connsiteX89" fmla="*/ 3745646 w 4939998"/>
              <a:gd name="connsiteY89" fmla="*/ 1368 h 5748336"/>
              <a:gd name="connsiteX90" fmla="*/ 3919778 w 4939998"/>
              <a:gd name="connsiteY90" fmla="*/ 824 h 57483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</a:cxnLst>
            <a:rect l="l" t="t" r="r" b="b"/>
            <a:pathLst>
              <a:path w="4939998" h="5748336">
                <a:moveTo>
                  <a:pt x="4939998" y="5605289"/>
                </a:moveTo>
                <a:lnTo>
                  <a:pt x="4939998" y="5748336"/>
                </a:lnTo>
                <a:lnTo>
                  <a:pt x="4538566" y="5748336"/>
                </a:lnTo>
                <a:close/>
                <a:moveTo>
                  <a:pt x="4939998" y="5274922"/>
                </a:moveTo>
                <a:lnTo>
                  <a:pt x="4939998" y="5420809"/>
                </a:lnTo>
                <a:lnTo>
                  <a:pt x="4622567" y="5574357"/>
                </a:lnTo>
                <a:cubicBezTo>
                  <a:pt x="4491573" y="5633426"/>
                  <a:pt x="4357992" y="5689399"/>
                  <a:pt x="4221903" y="5742079"/>
                </a:cubicBezTo>
                <a:lnTo>
                  <a:pt x="4204369" y="5748336"/>
                </a:lnTo>
                <a:lnTo>
                  <a:pt x="3806880" y="5748336"/>
                </a:lnTo>
                <a:lnTo>
                  <a:pt x="4166715" y="5619158"/>
                </a:lnTo>
                <a:lnTo>
                  <a:pt x="4166715" y="5614140"/>
                </a:lnTo>
                <a:cubicBezTo>
                  <a:pt x="4317855" y="5555816"/>
                  <a:pt x="4466801" y="5494043"/>
                  <a:pt x="4613120" y="5429213"/>
                </a:cubicBezTo>
                <a:close/>
                <a:moveTo>
                  <a:pt x="4939998" y="4211322"/>
                </a:moveTo>
                <a:lnTo>
                  <a:pt x="4939998" y="4465357"/>
                </a:lnTo>
                <a:lnTo>
                  <a:pt x="4868155" y="4502214"/>
                </a:lnTo>
                <a:cubicBezTo>
                  <a:pt x="4550092" y="4659122"/>
                  <a:pt x="4215318" y="4805755"/>
                  <a:pt x="3868196" y="4939336"/>
                </a:cubicBezTo>
                <a:cubicBezTo>
                  <a:pt x="2942538" y="5298062"/>
                  <a:pt x="2011862" y="5533867"/>
                  <a:pt x="1171495" y="5629193"/>
                </a:cubicBezTo>
                <a:cubicBezTo>
                  <a:pt x="1116307" y="5589055"/>
                  <a:pt x="1068643" y="5541393"/>
                  <a:pt x="1018473" y="5498747"/>
                </a:cubicBezTo>
                <a:cubicBezTo>
                  <a:pt x="1863858" y="5353249"/>
                  <a:pt x="2807074" y="5089850"/>
                  <a:pt x="3770361" y="4716074"/>
                </a:cubicBezTo>
                <a:lnTo>
                  <a:pt x="3770361" y="4718583"/>
                </a:lnTo>
                <a:cubicBezTo>
                  <a:pt x="4131594" y="4578417"/>
                  <a:pt x="4479774" y="4429431"/>
                  <a:pt x="4811197" y="4273743"/>
                </a:cubicBezTo>
                <a:close/>
                <a:moveTo>
                  <a:pt x="4939998" y="3025925"/>
                </a:moveTo>
                <a:lnTo>
                  <a:pt x="4939998" y="3540890"/>
                </a:lnTo>
                <a:lnTo>
                  <a:pt x="4670679" y="3664137"/>
                </a:lnTo>
                <a:cubicBezTo>
                  <a:pt x="4300804" y="3829335"/>
                  <a:pt x="3912409" y="3990784"/>
                  <a:pt x="3514490" y="4144120"/>
                </a:cubicBezTo>
                <a:cubicBezTo>
                  <a:pt x="3382163" y="4195232"/>
                  <a:pt x="3249876" y="4245051"/>
                  <a:pt x="3117991" y="4293468"/>
                </a:cubicBezTo>
                <a:lnTo>
                  <a:pt x="2892083" y="4374261"/>
                </a:lnTo>
                <a:lnTo>
                  <a:pt x="2984456" y="4344959"/>
                </a:lnTo>
                <a:cubicBezTo>
                  <a:pt x="3380318" y="4215420"/>
                  <a:pt x="3792937" y="4068551"/>
                  <a:pt x="4214375" y="3905807"/>
                </a:cubicBezTo>
                <a:cubicBezTo>
                  <a:pt x="4354854" y="3851246"/>
                  <a:pt x="4493295" y="3796136"/>
                  <a:pt x="4629448" y="3740620"/>
                </a:cubicBezTo>
                <a:lnTo>
                  <a:pt x="4939998" y="3610914"/>
                </a:lnTo>
                <a:lnTo>
                  <a:pt x="4939998" y="4107750"/>
                </a:lnTo>
                <a:lnTo>
                  <a:pt x="4797755" y="4168895"/>
                </a:lnTo>
                <a:cubicBezTo>
                  <a:pt x="4668227" y="4222673"/>
                  <a:pt x="4536409" y="4275509"/>
                  <a:pt x="4402515" y="4327249"/>
                </a:cubicBezTo>
                <a:lnTo>
                  <a:pt x="4400008" y="4327249"/>
                </a:lnTo>
                <a:cubicBezTo>
                  <a:pt x="3328853" y="4743670"/>
                  <a:pt x="2300345" y="5019613"/>
                  <a:pt x="1447434" y="5145041"/>
                </a:cubicBezTo>
                <a:cubicBezTo>
                  <a:pt x="1399772" y="5097379"/>
                  <a:pt x="1353991" y="5048462"/>
                  <a:pt x="1309777" y="4997977"/>
                </a:cubicBezTo>
                <a:lnTo>
                  <a:pt x="1227590" y="4897703"/>
                </a:lnTo>
                <a:lnTo>
                  <a:pt x="1215160" y="4901159"/>
                </a:lnTo>
                <a:cubicBezTo>
                  <a:pt x="977553" y="4964579"/>
                  <a:pt x="748804" y="5020238"/>
                  <a:pt x="531813" y="5067273"/>
                </a:cubicBezTo>
                <a:cubicBezTo>
                  <a:pt x="456557" y="4966930"/>
                  <a:pt x="388826" y="4861570"/>
                  <a:pt x="328621" y="4751194"/>
                </a:cubicBezTo>
                <a:cubicBezTo>
                  <a:pt x="1168988" y="4477760"/>
                  <a:pt x="2222582" y="4098967"/>
                  <a:pt x="3308787" y="3677526"/>
                </a:cubicBezTo>
                <a:lnTo>
                  <a:pt x="3308787" y="3680035"/>
                </a:lnTo>
                <a:cubicBezTo>
                  <a:pt x="3850635" y="3470570"/>
                  <a:pt x="4379941" y="3258596"/>
                  <a:pt x="4874128" y="3053520"/>
                </a:cubicBezTo>
                <a:close/>
                <a:moveTo>
                  <a:pt x="4939998" y="1092018"/>
                </a:moveTo>
                <a:lnTo>
                  <a:pt x="4939998" y="1242798"/>
                </a:lnTo>
                <a:lnTo>
                  <a:pt x="4939998" y="1263974"/>
                </a:lnTo>
                <a:lnTo>
                  <a:pt x="4939998" y="1691637"/>
                </a:lnTo>
                <a:lnTo>
                  <a:pt x="4694235" y="1768356"/>
                </a:lnTo>
                <a:cubicBezTo>
                  <a:pt x="4298373" y="1897896"/>
                  <a:pt x="3885754" y="2044765"/>
                  <a:pt x="3464316" y="2207508"/>
                </a:cubicBezTo>
                <a:cubicBezTo>
                  <a:pt x="2480962" y="2589436"/>
                  <a:pt x="1597479" y="2998255"/>
                  <a:pt x="899576" y="3385226"/>
                </a:cubicBezTo>
                <a:lnTo>
                  <a:pt x="884259" y="3393983"/>
                </a:lnTo>
                <a:lnTo>
                  <a:pt x="941004" y="3365264"/>
                </a:lnTo>
                <a:cubicBezTo>
                  <a:pt x="1509642" y="3084838"/>
                  <a:pt x="2146384" y="2806740"/>
                  <a:pt x="2809585" y="2551179"/>
                </a:cubicBezTo>
                <a:cubicBezTo>
                  <a:pt x="3472784" y="2295618"/>
                  <a:pt x="4134025" y="2071414"/>
                  <a:pt x="4747985" y="1893879"/>
                </a:cubicBezTo>
                <a:lnTo>
                  <a:pt x="4939998" y="1840464"/>
                </a:lnTo>
                <a:lnTo>
                  <a:pt x="4939998" y="2302780"/>
                </a:lnTo>
                <a:lnTo>
                  <a:pt x="4595678" y="2425437"/>
                </a:lnTo>
                <a:cubicBezTo>
                  <a:pt x="4091458" y="2606995"/>
                  <a:pt x="3557135" y="2807053"/>
                  <a:pt x="3015286" y="3017773"/>
                </a:cubicBezTo>
                <a:cubicBezTo>
                  <a:pt x="1931589" y="3436703"/>
                  <a:pt x="900573" y="3865668"/>
                  <a:pt x="95326" y="4226902"/>
                </a:cubicBezTo>
                <a:cubicBezTo>
                  <a:pt x="57697" y="4109000"/>
                  <a:pt x="25085" y="3991096"/>
                  <a:pt x="0" y="3868177"/>
                </a:cubicBezTo>
                <a:cubicBezTo>
                  <a:pt x="188770" y="3757801"/>
                  <a:pt x="392433" y="3645856"/>
                  <a:pt x="608326" y="3533637"/>
                </a:cubicBezTo>
                <a:lnTo>
                  <a:pt x="609711" y="3532936"/>
                </a:lnTo>
                <a:lnTo>
                  <a:pt x="584178" y="3353923"/>
                </a:lnTo>
                <a:cubicBezTo>
                  <a:pt x="576966" y="3288701"/>
                  <a:pt x="571949" y="3223478"/>
                  <a:pt x="569440" y="3158255"/>
                </a:cubicBezTo>
                <a:cubicBezTo>
                  <a:pt x="1269327" y="2684135"/>
                  <a:pt x="2205020" y="2199982"/>
                  <a:pt x="3276174" y="1786067"/>
                </a:cubicBezTo>
                <a:cubicBezTo>
                  <a:pt x="3677857" y="1630850"/>
                  <a:pt x="4073543" y="1495035"/>
                  <a:pt x="4456220" y="1379283"/>
                </a:cubicBezTo>
                <a:lnTo>
                  <a:pt x="4569094" y="1346730"/>
                </a:lnTo>
                <a:lnTo>
                  <a:pt x="4147023" y="1452080"/>
                </a:lnTo>
                <a:cubicBezTo>
                  <a:pt x="3631538" y="1591142"/>
                  <a:pt x="3096656" y="1766467"/>
                  <a:pt x="2556218" y="1976716"/>
                </a:cubicBezTo>
                <a:cubicBezTo>
                  <a:pt x="1590425" y="2350493"/>
                  <a:pt x="719955" y="2786985"/>
                  <a:pt x="12542" y="3246052"/>
                </a:cubicBezTo>
                <a:cubicBezTo>
                  <a:pt x="12542" y="3180829"/>
                  <a:pt x="17559" y="3115607"/>
                  <a:pt x="25085" y="3050384"/>
                </a:cubicBezTo>
                <a:cubicBezTo>
                  <a:pt x="692361" y="2561213"/>
                  <a:pt x="1527711" y="2114687"/>
                  <a:pt x="2455878" y="1755962"/>
                </a:cubicBezTo>
                <a:lnTo>
                  <a:pt x="2455878" y="1753454"/>
                </a:lnTo>
                <a:cubicBezTo>
                  <a:pt x="3263633" y="1439569"/>
                  <a:pt x="4079072" y="1219795"/>
                  <a:pt x="4834970" y="1105895"/>
                </a:cubicBezTo>
                <a:close/>
                <a:moveTo>
                  <a:pt x="3755311" y="509204"/>
                </a:moveTo>
                <a:cubicBezTo>
                  <a:pt x="3833075" y="524256"/>
                  <a:pt x="3905824" y="544324"/>
                  <a:pt x="3983588" y="564392"/>
                </a:cubicBezTo>
                <a:cubicBezTo>
                  <a:pt x="3381536" y="672261"/>
                  <a:pt x="2761922" y="845353"/>
                  <a:pt x="2157360" y="1078650"/>
                </a:cubicBezTo>
                <a:cubicBezTo>
                  <a:pt x="1552796" y="1311947"/>
                  <a:pt x="983355" y="1600432"/>
                  <a:pt x="476625" y="1919019"/>
                </a:cubicBezTo>
                <a:cubicBezTo>
                  <a:pt x="514254" y="1853796"/>
                  <a:pt x="551883" y="1788574"/>
                  <a:pt x="597036" y="1728368"/>
                </a:cubicBezTo>
                <a:cubicBezTo>
                  <a:pt x="1053593" y="1424831"/>
                  <a:pt x="1560322" y="1163940"/>
                  <a:pt x="2104679" y="953222"/>
                </a:cubicBezTo>
                <a:lnTo>
                  <a:pt x="2102170" y="955728"/>
                </a:lnTo>
                <a:cubicBezTo>
                  <a:pt x="2646528" y="745010"/>
                  <a:pt x="3200920" y="597003"/>
                  <a:pt x="3755311" y="509204"/>
                </a:cubicBezTo>
                <a:close/>
                <a:moveTo>
                  <a:pt x="3919778" y="824"/>
                </a:moveTo>
                <a:cubicBezTo>
                  <a:pt x="4093496" y="4587"/>
                  <a:pt x="4265800" y="21211"/>
                  <a:pt x="4435127" y="50139"/>
                </a:cubicBezTo>
                <a:cubicBezTo>
                  <a:pt x="3875718" y="137938"/>
                  <a:pt x="3293733" y="288451"/>
                  <a:pt x="2711748" y="514222"/>
                </a:cubicBezTo>
                <a:lnTo>
                  <a:pt x="2709239" y="514222"/>
                </a:lnTo>
                <a:cubicBezTo>
                  <a:pt x="2129762" y="739995"/>
                  <a:pt x="1602965" y="1015936"/>
                  <a:pt x="1141390" y="1324491"/>
                </a:cubicBezTo>
                <a:cubicBezTo>
                  <a:pt x="1487572" y="855388"/>
                  <a:pt x="1979249" y="469069"/>
                  <a:pt x="2586320" y="233263"/>
                </a:cubicBezTo>
                <a:cubicBezTo>
                  <a:pt x="2965740" y="87452"/>
                  <a:pt x="3357898" y="12196"/>
                  <a:pt x="3745646" y="1368"/>
                </a:cubicBezTo>
                <a:cubicBezTo>
                  <a:pt x="3803808" y="-256"/>
                  <a:pt x="3861872" y="-431"/>
                  <a:pt x="3919778" y="824"/>
                </a:cubicBezTo>
                <a:close/>
              </a:path>
            </a:pathLst>
          </a:custGeom>
          <a:solidFill>
            <a:schemeClr val="tx1">
              <a:alpha val="3000"/>
            </a:schemeClr>
          </a:solidFill>
          <a:ln w="129268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69F3705-0936-324D-4B9E-4A95BCD461E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515938" y="321584"/>
            <a:ext cx="9511784" cy="9145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D0734C-2A25-F4D8-9945-E391602DD9D3}"/>
              </a:ext>
            </a:extLst>
          </p:cNvPr>
          <p:cNvSpPr>
            <a:spLocks noGrp="1"/>
          </p:cNvSpPr>
          <p:nvPr userDrawn="1">
            <p:ph type="body" idx="1"/>
          </p:nvPr>
        </p:nvSpPr>
        <p:spPr>
          <a:xfrm>
            <a:off x="515938" y="1520824"/>
            <a:ext cx="11160124" cy="460851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A53268D-60D8-B847-5719-ABC4379455B8}"/>
              </a:ext>
            </a:extLst>
          </p:cNvPr>
          <p:cNvSpPr>
            <a:spLocks noGrp="1"/>
          </p:cNvSpPr>
          <p:nvPr userDrawn="1">
            <p:ph type="ftr" sz="quarter" idx="3"/>
          </p:nvPr>
        </p:nvSpPr>
        <p:spPr>
          <a:xfrm>
            <a:off x="515938" y="6243246"/>
            <a:ext cx="4114800" cy="2699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GB"/>
              <a:t>TITAN Cement Group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F20AF7-FCF7-1425-1CD0-94CCD412A8B9}"/>
              </a:ext>
            </a:extLst>
          </p:cNvPr>
          <p:cNvSpPr>
            <a:spLocks noGrp="1"/>
          </p:cNvSpPr>
          <p:nvPr userDrawn="1">
            <p:ph type="sldNum" sz="quarter" idx="4"/>
          </p:nvPr>
        </p:nvSpPr>
        <p:spPr>
          <a:xfrm>
            <a:off x="11112500" y="6243246"/>
            <a:ext cx="563562" cy="26997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1000" b="1">
                <a:solidFill>
                  <a:schemeClr val="accent1"/>
                </a:solidFill>
              </a:defRPr>
            </a:lvl1pPr>
          </a:lstStyle>
          <a:p>
            <a:fld id="{D631C82E-7B5F-4FD3-882E-C1FF210412AE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9" name="Graphic 38">
            <a:extLst>
              <a:ext uri="{FF2B5EF4-FFF2-40B4-BE49-F238E27FC236}">
                <a16:creationId xmlns:a16="http://schemas.microsoft.com/office/drawing/2014/main" id="{332E300D-BB6E-519B-A993-692F7F96A5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 l="956" r="956"/>
          <a:stretch/>
        </p:blipFill>
        <p:spPr>
          <a:xfrm>
            <a:off x="10543659" y="371929"/>
            <a:ext cx="1132403" cy="30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2802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</p:sldLayoutIdLst>
  <p:transition>
    <p:fade/>
  </p:transition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 cap="all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1" kern="1200" cap="none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77800" indent="-177800" algn="l" defTabSz="914400" rtl="0" eaLnBrk="1" latinLnBrk="0" hangingPunct="1">
        <a:lnSpc>
          <a:spcPct val="90000"/>
        </a:lnSpc>
        <a:spcBef>
          <a:spcPts val="500"/>
        </a:spcBef>
        <a:buFont typeface="Arial Narrow" panose="020B060602020203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0363" indent="-1825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538163" indent="-177800" algn="l" defTabSz="914400" rtl="0" eaLnBrk="1" latinLnBrk="0" hangingPunct="1">
        <a:lnSpc>
          <a:spcPct val="90000"/>
        </a:lnSpc>
        <a:spcBef>
          <a:spcPts val="500"/>
        </a:spcBef>
        <a:buFont typeface="Arial Narrow" panose="020B060602020203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3" pos="325">
          <p15:clr>
            <a:srgbClr val="F26B43"/>
          </p15:clr>
        </p15:guide>
        <p15:guide id="4" pos="7355">
          <p15:clr>
            <a:srgbClr val="F26B43"/>
          </p15:clr>
        </p15:guide>
        <p15:guide id="5" orient="horz" pos="232">
          <p15:clr>
            <a:srgbClr val="F26B43"/>
          </p15:clr>
        </p15:guide>
        <p15:guide id="6" orient="horz" pos="699">
          <p15:clr>
            <a:srgbClr val="F26B43"/>
          </p15:clr>
        </p15:guide>
        <p15:guide id="7" orient="horz" pos="4088">
          <p15:clr>
            <a:srgbClr val="F26B43"/>
          </p15:clr>
        </p15:guide>
        <p15:guide id="8" orient="horz" pos="3861">
          <p15:clr>
            <a:srgbClr val="F26B43"/>
          </p15:clr>
        </p15:guide>
        <p15:guide id="9" orient="horz" pos="95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717BFBC-B2E7-F34E-896F-2CF4620CE1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9999" y="339165"/>
            <a:ext cx="9253608" cy="60174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  <a:endParaRPr lang="en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F3A49D-7F06-F143-A0A8-646F4918E2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9997" y="1665288"/>
            <a:ext cx="11222577" cy="44640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9C4B31C-0608-6043-943B-2F4118AEAC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9997" y="6308725"/>
            <a:ext cx="10764641" cy="3590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0" i="0">
                <a:solidFill>
                  <a:srgbClr val="1C325C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GB"/>
              <a:t>Insert footer text here</a:t>
            </a:r>
            <a:endParaRPr lang="en-GR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953C837-E6FF-3741-9B1D-929D4CD7D3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4638" y="6309517"/>
            <a:ext cx="447363" cy="35957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 i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6975975C-DC16-EA43-A4FB-DF56EBC8F994}" type="slidenum">
              <a:rPr lang="en-GR" smtClean="0"/>
              <a:pPr/>
              <a:t>‹#›</a:t>
            </a:fld>
            <a:endParaRPr lang="en-GR"/>
          </a:p>
        </p:txBody>
      </p:sp>
    </p:spTree>
    <p:extLst>
      <p:ext uri="{BB962C8B-B14F-4D97-AF65-F5344CB8AC3E}">
        <p14:creationId xmlns:p14="http://schemas.microsoft.com/office/powerpoint/2010/main" val="15061044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  <p:sldLayoutId id="2147483950" r:id="rId13"/>
    <p:sldLayoutId id="2147483951" r:id="rId14"/>
    <p:sldLayoutId id="2147483952" r:id="rId15"/>
    <p:sldLayoutId id="2147483953" r:id="rId16"/>
    <p:sldLayoutId id="2147483954" r:id="rId17"/>
    <p:sldLayoutId id="2147483955" r:id="rId18"/>
    <p:sldLayoutId id="2147483956" r:id="rId19"/>
    <p:sldLayoutId id="2147483957" r:id="rId20"/>
    <p:sldLayoutId id="2147483958" r:id="rId21"/>
    <p:sldLayoutId id="2147483959" r:id="rId22"/>
    <p:sldLayoutId id="2147483960" r:id="rId23"/>
    <p:sldLayoutId id="2147483961" r:id="rId24"/>
    <p:sldLayoutId id="2147483962" r:id="rId25"/>
    <p:sldLayoutId id="2147483963" r:id="rId26"/>
    <p:sldLayoutId id="2147483964" r:id="rId27"/>
    <p:sldLayoutId id="2147484402" r:id="rId2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2"/>
          </a:solidFill>
          <a:latin typeface="Calibri" panose="020F0502020204030204" pitchFamily="34" charset="0"/>
          <a:ea typeface="Open Sans" panose="020B0606030504020204" pitchFamily="34" charset="0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tx2"/>
        </a:buClr>
        <a:buFont typeface="Arial" panose="020B0604020202020204" pitchFamily="34" charset="0"/>
        <a:buChar char="•"/>
        <a:defRPr sz="2400" b="0" i="0" kern="1200">
          <a:solidFill>
            <a:srgbClr val="1C325C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1pPr>
      <a:lvl2pPr marL="11113" indent="260350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Courier New" panose="02070309020205020404" pitchFamily="49" charset="0"/>
        <a:buChar char="o"/>
        <a:tabLst/>
        <a:defRPr sz="1600" b="0" i="0" kern="1200">
          <a:solidFill>
            <a:srgbClr val="1C325C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2pPr>
      <a:lvl3pPr marL="533400" indent="-214313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Courier New" panose="02070309020205020404" pitchFamily="49" charset="0"/>
        <a:buChar char="o"/>
        <a:tabLst/>
        <a:defRPr sz="1600" b="0" i="0" kern="1200">
          <a:solidFill>
            <a:srgbClr val="1C325C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3pPr>
      <a:lvl4pPr marL="1520825" indent="-149225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600" b="0" i="0" kern="1200">
          <a:solidFill>
            <a:srgbClr val="1C325C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4pPr>
      <a:lvl5pPr marL="2008188" indent="-179388" algn="l" defTabSz="914400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Arial" panose="020B0604020202020204" pitchFamily="34" charset="0"/>
        <a:buChar char="•"/>
        <a:tabLst/>
        <a:defRPr sz="1600" b="0" i="0" kern="1200">
          <a:solidFill>
            <a:srgbClr val="1C325C"/>
          </a:solidFill>
          <a:latin typeface="Calibri Light" panose="020F0302020204030204" pitchFamily="34" charset="0"/>
          <a:ea typeface="+mn-ea"/>
          <a:cs typeface="Calibri Light" panose="020F03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0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4201">
          <p15:clr>
            <a:srgbClr val="F26B43"/>
          </p15:clr>
        </p15:guide>
        <p15:guide id="4" pos="302">
          <p15:clr>
            <a:srgbClr val="F26B43"/>
          </p15:clr>
        </p15:guide>
        <p15:guide id="6" orient="horz" pos="958">
          <p15:clr>
            <a:srgbClr val="F26B43"/>
          </p15:clr>
        </p15:guide>
        <p15:guide id="7" orient="horz" pos="1049">
          <p15:clr>
            <a:srgbClr val="F26B43"/>
          </p15:clr>
        </p15:guide>
        <p15:guide id="8" orient="horz" pos="3974">
          <p15:clr>
            <a:srgbClr val="F26B43"/>
          </p15:clr>
        </p15:guide>
        <p15:guide id="9" orient="horz" pos="386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44500" y="253695"/>
            <a:ext cx="10039553" cy="8504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4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6387465" y="1198625"/>
            <a:ext cx="5392420" cy="18624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1" i="0">
                <a:solidFill>
                  <a:srgbClr val="0960AA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12/2025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507978" y="6502799"/>
            <a:ext cx="300354" cy="16700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000" b="1" i="0">
                <a:solidFill>
                  <a:srgbClr val="2A2C6B"/>
                </a:solidFill>
                <a:latin typeface="Arial"/>
                <a:cs typeface="Arial"/>
              </a:defRPr>
            </a:lvl1pPr>
          </a:lstStyle>
          <a:p>
            <a:pPr marL="177800">
              <a:lnSpc>
                <a:spcPct val="100000"/>
              </a:lnSpc>
            </a:pPr>
            <a:fld id="{81D60167-4931-47E6-BA6A-407CBD079E47}" type="slidenum">
              <a:rPr spc="-50" dirty="0"/>
              <a:t>‹#›</a:t>
            </a:fld>
            <a:endParaRPr spc="-50"/>
          </a:p>
        </p:txBody>
      </p:sp>
    </p:spTree>
    <p:extLst>
      <p:ext uri="{BB962C8B-B14F-4D97-AF65-F5344CB8AC3E}">
        <p14:creationId xmlns:p14="http://schemas.microsoft.com/office/powerpoint/2010/main" val="1913580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6" r:id="rId1"/>
    <p:sldLayoutId id="2147484337" r:id="rId2"/>
    <p:sldLayoutId id="2147484338" r:id="rId3"/>
    <p:sldLayoutId id="2147484339" r:id="rId4"/>
    <p:sldLayoutId id="2147484340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chemeClr val="accent1"/>
            </a:gs>
            <a:gs pos="100000">
              <a:srgbClr val="0066B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20672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592" imgH="591" progId="TCLayout.ActiveDocument.1">
                  <p:embed/>
                </p:oleObj>
              </mc:Choice>
              <mc:Fallback>
                <p:oleObj name="think-cell Slide" r:id="rId3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1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25410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987738" y="2170800"/>
            <a:ext cx="3049253" cy="53860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</a:p>
          <a:p>
            <a:pPr lvl="0"/>
            <a:r>
              <a:rPr lang="en-US" sz="1400" b="0"/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2879250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00CF5445-D19F-4DD5-9655-35DEC0116606}"/>
              </a:ext>
            </a:extLst>
          </p:cNvPr>
          <p:cNvGrpSpPr/>
          <p:nvPr userDrawn="1"/>
        </p:nvGrpSpPr>
        <p:grpSpPr>
          <a:xfrm>
            <a:off x="10714801" y="4381500"/>
            <a:ext cx="847379" cy="1717282"/>
            <a:chOff x="10554770" y="4322824"/>
            <a:chExt cx="847379" cy="1717282"/>
          </a:xfrm>
        </p:grpSpPr>
        <p:sp>
          <p:nvSpPr>
            <p:cNvPr id="147" name="RectangleLegend1" hidden="1">
              <a:extLst>
                <a:ext uri="{FF2B5EF4-FFF2-40B4-BE49-F238E27FC236}">
                  <a16:creationId xmlns:a16="http://schemas.microsoft.com/office/drawing/2014/main" id="{B0C248C9-AEB3-46FB-8280-E3211DBEB281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 hidden="1">
              <a:extLst>
                <a:ext uri="{FF2B5EF4-FFF2-40B4-BE49-F238E27FC236}">
                  <a16:creationId xmlns:a16="http://schemas.microsoft.com/office/drawing/2014/main" id="{5FFDB6EE-E214-47D4-BD1E-68A3E1441FC4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 hidden="1">
              <a:extLst>
                <a:ext uri="{FF2B5EF4-FFF2-40B4-BE49-F238E27FC236}">
                  <a16:creationId xmlns:a16="http://schemas.microsoft.com/office/drawing/2014/main" id="{5FBFAC27-C230-4F56-AAAD-D1668F94D1B5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 hidden="1">
              <a:extLst>
                <a:ext uri="{FF2B5EF4-FFF2-40B4-BE49-F238E27FC236}">
                  <a16:creationId xmlns:a16="http://schemas.microsoft.com/office/drawing/2014/main" id="{254A3102-BB58-4D95-94EC-3DE40A4EAA88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 hidden="1">
              <a:extLst>
                <a:ext uri="{FF2B5EF4-FFF2-40B4-BE49-F238E27FC236}">
                  <a16:creationId xmlns:a16="http://schemas.microsoft.com/office/drawing/2014/main" id="{D95E5874-22DC-449E-9E4F-E608D6BAA017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52" name="Legend1" hidden="1">
              <a:extLst>
                <a:ext uri="{FF2B5EF4-FFF2-40B4-BE49-F238E27FC236}">
                  <a16:creationId xmlns:a16="http://schemas.microsoft.com/office/drawing/2014/main" id="{14AE8A3D-7EAD-4DA3-A795-71B07652A7AE}"/>
                </a:ext>
              </a:extLst>
            </p:cNvPr>
            <p:cNvSpPr txBox="1"/>
            <p:nvPr/>
          </p:nvSpPr>
          <p:spPr>
            <a:xfrm>
              <a:off x="10880916" y="4322824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3" name="Legend2" hidden="1">
              <a:extLst>
                <a:ext uri="{FF2B5EF4-FFF2-40B4-BE49-F238E27FC236}">
                  <a16:creationId xmlns:a16="http://schemas.microsoft.com/office/drawing/2014/main" id="{8207797F-316A-499D-A417-8C9560694A88}"/>
                </a:ext>
              </a:extLst>
            </p:cNvPr>
            <p:cNvSpPr txBox="1"/>
            <p:nvPr/>
          </p:nvSpPr>
          <p:spPr>
            <a:xfrm>
              <a:off x="10880916" y="4702322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4" name="Legend3" hidden="1">
              <a:extLst>
                <a:ext uri="{FF2B5EF4-FFF2-40B4-BE49-F238E27FC236}">
                  <a16:creationId xmlns:a16="http://schemas.microsoft.com/office/drawing/2014/main" id="{8DBB7969-5E87-4C28-979C-F3061F150341}"/>
                </a:ext>
              </a:extLst>
            </p:cNvPr>
            <p:cNvSpPr txBox="1"/>
            <p:nvPr/>
          </p:nvSpPr>
          <p:spPr>
            <a:xfrm>
              <a:off x="10880916" y="5081820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5" name="Legend4" hidden="1">
              <a:extLst>
                <a:ext uri="{FF2B5EF4-FFF2-40B4-BE49-F238E27FC236}">
                  <a16:creationId xmlns:a16="http://schemas.microsoft.com/office/drawing/2014/main" id="{483903BF-856C-4544-8E01-676CFD72B9C2}"/>
                </a:ext>
              </a:extLst>
            </p:cNvPr>
            <p:cNvSpPr txBox="1"/>
            <p:nvPr/>
          </p:nvSpPr>
          <p:spPr>
            <a:xfrm>
              <a:off x="10880916" y="5453241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6" name="Legend5" hidden="1">
              <a:extLst>
                <a:ext uri="{FF2B5EF4-FFF2-40B4-BE49-F238E27FC236}">
                  <a16:creationId xmlns:a16="http://schemas.microsoft.com/office/drawing/2014/main" id="{079EF3F5-FDBD-4025-BC9D-AC5F4D1255C1}"/>
                </a:ext>
              </a:extLst>
            </p:cNvPr>
            <p:cNvSpPr txBox="1"/>
            <p:nvPr/>
          </p:nvSpPr>
          <p:spPr>
            <a:xfrm>
              <a:off x="10880915" y="5824662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61805813-26D8-4C87-AD68-DAC4F7BCC86A}"/>
              </a:ext>
            </a:extLst>
          </p:cNvPr>
          <p:cNvGrpSpPr/>
          <p:nvPr userDrawn="1"/>
        </p:nvGrpSpPr>
        <p:grpSpPr>
          <a:xfrm>
            <a:off x="10317304" y="3150831"/>
            <a:ext cx="1244876" cy="958286"/>
            <a:chOff x="10162879" y="3243772"/>
            <a:chExt cx="1244876" cy="958286"/>
          </a:xfrm>
        </p:grpSpPr>
        <p:sp>
          <p:nvSpPr>
            <p:cNvPr id="158" name="Legend1" hidden="1">
              <a:extLst>
                <a:ext uri="{FF2B5EF4-FFF2-40B4-BE49-F238E27FC236}">
                  <a16:creationId xmlns:a16="http://schemas.microsoft.com/office/drawing/2014/main" id="{9AF673AE-0695-4862-B3FD-110FB9942277}"/>
                </a:ext>
              </a:extLst>
            </p:cNvPr>
            <p:cNvSpPr txBox="1"/>
            <p:nvPr/>
          </p:nvSpPr>
          <p:spPr>
            <a:xfrm>
              <a:off x="10886522" y="3243772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59" name="Legend2" hidden="1">
              <a:extLst>
                <a:ext uri="{FF2B5EF4-FFF2-40B4-BE49-F238E27FC236}">
                  <a16:creationId xmlns:a16="http://schemas.microsoft.com/office/drawing/2014/main" id="{0374CF0B-536A-4F90-B86B-A9F9C140A678}"/>
                </a:ext>
              </a:extLst>
            </p:cNvPr>
            <p:cNvSpPr txBox="1"/>
            <p:nvPr/>
          </p:nvSpPr>
          <p:spPr>
            <a:xfrm>
              <a:off x="10886522" y="3615193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0" name="Legend3" hidden="1">
              <a:extLst>
                <a:ext uri="{FF2B5EF4-FFF2-40B4-BE49-F238E27FC236}">
                  <a16:creationId xmlns:a16="http://schemas.microsoft.com/office/drawing/2014/main" id="{2DA611C6-A216-4326-A444-13695A81C202}"/>
                </a:ext>
              </a:extLst>
            </p:cNvPr>
            <p:cNvSpPr txBox="1"/>
            <p:nvPr/>
          </p:nvSpPr>
          <p:spPr>
            <a:xfrm>
              <a:off x="10886522" y="3986614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1" name="LineLegend3" hidden="1">
              <a:extLst>
                <a:ext uri="{FF2B5EF4-FFF2-40B4-BE49-F238E27FC236}">
                  <a16:creationId xmlns:a16="http://schemas.microsoft.com/office/drawing/2014/main" id="{378C78B1-A33F-4B4A-A5DD-75DBF026403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2" name="LineLegend2" hidden="1">
              <a:extLst>
                <a:ext uri="{FF2B5EF4-FFF2-40B4-BE49-F238E27FC236}">
                  <a16:creationId xmlns:a16="http://schemas.microsoft.com/office/drawing/2014/main" id="{93CBB6F2-626A-4E22-BE1B-5A657C22953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  <p:sp>
          <p:nvSpPr>
            <p:cNvPr id="163" name="LineLegend1" hidden="1">
              <a:extLst>
                <a:ext uri="{FF2B5EF4-FFF2-40B4-BE49-F238E27FC236}">
                  <a16:creationId xmlns:a16="http://schemas.microsoft.com/office/drawing/2014/main" id="{4D34965A-4E4D-4FDE-BD26-B3AA13F338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400" baseline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2C75F6E6-E979-4F5C-B483-503F33EA0CA2}"/>
              </a:ext>
            </a:extLst>
          </p:cNvPr>
          <p:cNvGrpSpPr/>
          <p:nvPr userDrawn="1"/>
        </p:nvGrpSpPr>
        <p:grpSpPr>
          <a:xfrm>
            <a:off x="10684859" y="1146588"/>
            <a:ext cx="873865" cy="1731859"/>
            <a:chOff x="7716535" y="2630582"/>
            <a:chExt cx="873865" cy="1731859"/>
          </a:xfrm>
        </p:grpSpPr>
        <p:sp>
          <p:nvSpPr>
            <p:cNvPr id="165" name="Legend1" hidden="1">
              <a:extLst>
                <a:ext uri="{FF2B5EF4-FFF2-40B4-BE49-F238E27FC236}">
                  <a16:creationId xmlns:a16="http://schemas.microsoft.com/office/drawing/2014/main" id="{05A51F3E-33A5-41D5-B6BF-3A1EA599EED5}"/>
                </a:ext>
              </a:extLst>
            </p:cNvPr>
            <p:cNvSpPr txBox="1"/>
            <p:nvPr/>
          </p:nvSpPr>
          <p:spPr>
            <a:xfrm>
              <a:off x="8069167" y="2637941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6" name="Legend2" hidden="1">
              <a:extLst>
                <a:ext uri="{FF2B5EF4-FFF2-40B4-BE49-F238E27FC236}">
                  <a16:creationId xmlns:a16="http://schemas.microsoft.com/office/drawing/2014/main" id="{94A95CCB-7C61-43C3-9AD3-5D7A4C92D9B9}"/>
                </a:ext>
              </a:extLst>
            </p:cNvPr>
            <p:cNvSpPr txBox="1"/>
            <p:nvPr/>
          </p:nvSpPr>
          <p:spPr>
            <a:xfrm>
              <a:off x="8069167" y="3013400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67" name="Legend3" hidden="1">
              <a:extLst>
                <a:ext uri="{FF2B5EF4-FFF2-40B4-BE49-F238E27FC236}">
                  <a16:creationId xmlns:a16="http://schemas.microsoft.com/office/drawing/2014/main" id="{0A3875F0-F8D1-4FEE-8456-D85936D98A61}"/>
                </a:ext>
              </a:extLst>
            </p:cNvPr>
            <p:cNvSpPr txBox="1"/>
            <p:nvPr/>
          </p:nvSpPr>
          <p:spPr>
            <a:xfrm>
              <a:off x="8069167" y="3388859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8" name="Legend4" hidden="1">
              <a:extLst>
                <a:ext uri="{FF2B5EF4-FFF2-40B4-BE49-F238E27FC236}">
                  <a16:creationId xmlns:a16="http://schemas.microsoft.com/office/drawing/2014/main" id="{E47438AE-72D1-47FD-81EA-95BED95EEA83}"/>
                </a:ext>
              </a:extLst>
            </p:cNvPr>
            <p:cNvSpPr txBox="1"/>
            <p:nvPr/>
          </p:nvSpPr>
          <p:spPr>
            <a:xfrm>
              <a:off x="8069167" y="3764318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9" name="Legend5" hidden="1">
              <a:extLst>
                <a:ext uri="{FF2B5EF4-FFF2-40B4-BE49-F238E27FC236}">
                  <a16:creationId xmlns:a16="http://schemas.microsoft.com/office/drawing/2014/main" id="{6CE13C86-6110-414B-8988-2CC04CDA741A}"/>
                </a:ext>
              </a:extLst>
            </p:cNvPr>
            <p:cNvSpPr txBox="1"/>
            <p:nvPr/>
          </p:nvSpPr>
          <p:spPr>
            <a:xfrm>
              <a:off x="8069167" y="4139779"/>
              <a:ext cx="521233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10" name="MoonLegend1" hidden="1">
              <a:extLst>
                <a:ext uri="{FF2B5EF4-FFF2-40B4-BE49-F238E27FC236}">
                  <a16:creationId xmlns:a16="http://schemas.microsoft.com/office/drawing/2014/main" id="{82B71E00-873F-4833-BE54-52EBFB14AA12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 hidden="1">
                <a:extLst>
                  <a:ext uri="{FF2B5EF4-FFF2-40B4-BE49-F238E27FC236}">
                    <a16:creationId xmlns:a16="http://schemas.microsoft.com/office/drawing/2014/main" id="{565D309E-FFE3-49B2-A707-3C8CED1D49C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 hidden="1">
                <a:extLst>
                  <a:ext uri="{FF2B5EF4-FFF2-40B4-BE49-F238E27FC236}">
                    <a16:creationId xmlns:a16="http://schemas.microsoft.com/office/drawing/2014/main" id="{C3C564BE-C93D-46AD-A9E1-58DAD084D6E7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1" name="MoonLegend2" hidden="1">
              <a:extLst>
                <a:ext uri="{FF2B5EF4-FFF2-40B4-BE49-F238E27FC236}">
                  <a16:creationId xmlns:a16="http://schemas.microsoft.com/office/drawing/2014/main" id="{8373AF51-ECA0-4A15-BD64-1AEBEB3041E4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 hidden="1">
                <a:extLst>
                  <a:ext uri="{FF2B5EF4-FFF2-40B4-BE49-F238E27FC236}">
                    <a16:creationId xmlns:a16="http://schemas.microsoft.com/office/drawing/2014/main" id="{4539F5F7-3252-4BF5-ACE5-7D191E790DE3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 hidden="1">
                <a:extLst>
                  <a:ext uri="{FF2B5EF4-FFF2-40B4-BE49-F238E27FC236}">
                    <a16:creationId xmlns:a16="http://schemas.microsoft.com/office/drawing/2014/main" id="{2F58EE08-435D-4CE5-9BC5-F047E87B155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2" name="MoonLegend3" hidden="1">
              <a:extLst>
                <a:ext uri="{FF2B5EF4-FFF2-40B4-BE49-F238E27FC236}">
                  <a16:creationId xmlns:a16="http://schemas.microsoft.com/office/drawing/2014/main" id="{2459D948-E1E6-4FB2-B9FE-494C0D824A18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 hidden="1">
                <a:extLst>
                  <a:ext uri="{FF2B5EF4-FFF2-40B4-BE49-F238E27FC236}">
                    <a16:creationId xmlns:a16="http://schemas.microsoft.com/office/drawing/2014/main" id="{F5D3C786-DC29-426A-BB8E-186449BA3DF3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 hidden="1">
                <a:extLst>
                  <a:ext uri="{FF2B5EF4-FFF2-40B4-BE49-F238E27FC236}">
                    <a16:creationId xmlns:a16="http://schemas.microsoft.com/office/drawing/2014/main" id="{51C7CBDD-E346-486B-A0E6-ADC327C42457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3" name="MoonLegend4" hidden="1">
              <a:extLst>
                <a:ext uri="{FF2B5EF4-FFF2-40B4-BE49-F238E27FC236}">
                  <a16:creationId xmlns:a16="http://schemas.microsoft.com/office/drawing/2014/main" id="{238DCACC-81C5-4C73-8012-4EE4F3B18A67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 hidden="1">
                <a:extLst>
                  <a:ext uri="{FF2B5EF4-FFF2-40B4-BE49-F238E27FC236}">
                    <a16:creationId xmlns:a16="http://schemas.microsoft.com/office/drawing/2014/main" id="{D57B3DF8-09B1-474E-BABB-EE9BA80E9E13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 hidden="1">
                <a:extLst>
                  <a:ext uri="{FF2B5EF4-FFF2-40B4-BE49-F238E27FC236}">
                    <a16:creationId xmlns:a16="http://schemas.microsoft.com/office/drawing/2014/main" id="{F4ACA1DE-DBA2-43E7-B8E1-C4FB672EF00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14" name="MoonLegend5" hidden="1">
              <a:extLst>
                <a:ext uri="{FF2B5EF4-FFF2-40B4-BE49-F238E27FC236}">
                  <a16:creationId xmlns:a16="http://schemas.microsoft.com/office/drawing/2014/main" id="{161DB71B-9EB8-4D21-89E8-80503F837E5F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 hidden="1">
                <a:extLst>
                  <a:ext uri="{FF2B5EF4-FFF2-40B4-BE49-F238E27FC236}">
                    <a16:creationId xmlns:a16="http://schemas.microsoft.com/office/drawing/2014/main" id="{22FE4139-4273-4CBB-88EB-04977EEEE06A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 hidden="1">
                <a:extLst>
                  <a:ext uri="{FF2B5EF4-FFF2-40B4-BE49-F238E27FC236}">
                    <a16:creationId xmlns:a16="http://schemas.microsoft.com/office/drawing/2014/main" id="{6F0CFDC2-979A-42BF-8265-9919810D0E30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4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1310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6" r:id="rId1"/>
    <p:sldLayoutId id="2147484387" r:id="rId2"/>
    <p:sldLayoutId id="2147484388" r:id="rId3"/>
    <p:sldLayoutId id="2147484389" r:id="rId4"/>
    <p:sldLayoutId id="2147484390" r:id="rId5"/>
    <p:sldLayoutId id="2147484391" r:id="rId6"/>
    <p:sldLayoutId id="2147484392" r:id="rId7"/>
    <p:sldLayoutId id="2147484393" r:id="rId8"/>
    <p:sldLayoutId id="2147484394" r:id="rId9"/>
    <p:sldLayoutId id="2147484395" r:id="rId10"/>
    <p:sldLayoutId id="2147484396" r:id="rId11"/>
    <p:sldLayoutId id="2147484397" r:id="rId12"/>
    <p:sldLayoutId id="2147484398" r:id="rId13"/>
    <p:sldLayoutId id="2147484399" r:id="rId14"/>
    <p:sldLayoutId id="2147484400" r:id="rId15"/>
    <p:sldLayoutId id="2147484401" r:id="rId1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bg1"/>
        </a:buClr>
        <a:buSzPct val="110000"/>
        <a:buFont typeface="Wingdings" panose="05000000000000000000" pitchFamily="2" charset="2"/>
        <a:buChar char=""/>
        <a:defRPr sz="16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bg1"/>
        </a:buClr>
        <a:buSzPct val="110000"/>
        <a:buFont typeface="Arial" panose="020B0604020202020204" pitchFamily="34" charset="0"/>
        <a:buChar char="‒"/>
        <a:defRPr sz="16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bg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bg1"/>
        </a:buClr>
        <a:buSzPct val="100000"/>
        <a:buFont typeface="Arial" panose="020B0604020202020204" pitchFamily="34" charset="0"/>
        <a:buChar char="̶"/>
        <a:defRPr sz="1600" kern="1200">
          <a:solidFill>
            <a:schemeClr val="bg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95251BE-1E2A-4C13-B6F2-3E0DFD591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489584"/>
            <a:ext cx="9074151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CE1D050-8857-45DA-96D3-07500530554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6763" y="1240432"/>
            <a:ext cx="9074150" cy="3529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Text</a:t>
            </a:r>
          </a:p>
          <a:p>
            <a:pPr lvl="1"/>
            <a:r>
              <a:rPr lang="en-US" noProof="0"/>
              <a:t>Text</a:t>
            </a:r>
          </a:p>
          <a:p>
            <a:pPr lvl="2"/>
            <a:r>
              <a:rPr lang="en-US" noProof="0"/>
              <a:t>Text</a:t>
            </a:r>
          </a:p>
          <a:p>
            <a:pPr lvl="3"/>
            <a:r>
              <a:rPr lang="en-US" noProof="0"/>
              <a:t>Text</a:t>
            </a:r>
          </a:p>
          <a:p>
            <a:pPr lvl="4"/>
            <a:r>
              <a:rPr lang="en-US" noProof="0"/>
              <a:t>Text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10DD19B-FBA5-D9A4-6A8E-384EA9EBDB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52443" y="6264000"/>
            <a:ext cx="4114800" cy="365125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ts val="1200"/>
              </a:lnSpc>
              <a:defRPr sz="1000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C4B3101-D137-C3CA-AF72-1260351586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763" y="6264000"/>
            <a:ext cx="249237" cy="365125"/>
          </a:xfrm>
          <a:prstGeom prst="rect">
            <a:avLst/>
          </a:prstGeom>
        </p:spPr>
        <p:txBody>
          <a:bodyPr lIns="0" tIns="0" rIns="0" bIns="0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fld id="{63F05F4E-3A2B-47BE-8836-90C1EB87E9F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997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4" r:id="rId1"/>
    <p:sldLayoutId id="2147484405" r:id="rId2"/>
    <p:sldLayoutId id="2147484406" r:id="rId3"/>
    <p:sldLayoutId id="2147484407" r:id="rId4"/>
    <p:sldLayoutId id="2147484408" r:id="rId5"/>
    <p:sldLayoutId id="2147484409" r:id="rId6"/>
    <p:sldLayoutId id="2147484410" r:id="rId7"/>
    <p:sldLayoutId id="2147484411" r:id="rId8"/>
    <p:sldLayoutId id="2147484412" r:id="rId9"/>
    <p:sldLayoutId id="2147484413" r:id="rId10"/>
    <p:sldLayoutId id="2147484414" r:id="rId11"/>
    <p:sldLayoutId id="2147484415" r:id="rId12"/>
    <p:sldLayoutId id="2147484416" r:id="rId13"/>
    <p:sldLayoutId id="2147484417" r:id="rId14"/>
    <p:sldLayoutId id="2147484418" r:id="rId15"/>
    <p:sldLayoutId id="2147484419" r:id="rId16"/>
    <p:sldLayoutId id="2147484420" r:id="rId17"/>
    <p:sldLayoutId id="2147484421" r:id="rId18"/>
    <p:sldLayoutId id="2147484422" r:id="rId19"/>
    <p:sldLayoutId id="2147484423" r:id="rId20"/>
    <p:sldLayoutId id="2147484424" r:id="rId21"/>
    <p:sldLayoutId id="2147484425" r:id="rId22"/>
    <p:sldLayoutId id="2147484426" r:id="rId23"/>
    <p:sldLayoutId id="2147484427" r:id="rId24"/>
    <p:sldLayoutId id="2147484428" r:id="rId25"/>
    <p:sldLayoutId id="2147484429" r:id="rId26"/>
    <p:sldLayoutId id="2147484430" r:id="rId27"/>
    <p:sldLayoutId id="2147484431" r:id="rId28"/>
    <p:sldLayoutId id="2147484432" r:id="rId29"/>
    <p:sldLayoutId id="2147484433" r:id="rId30"/>
    <p:sldLayoutId id="2147484434" r:id="rId31"/>
    <p:sldLayoutId id="2147484435" r:id="rId32"/>
    <p:sldLayoutId id="2147484436" r:id="rId33"/>
    <p:sldLayoutId id="2147484437" r:id="rId34"/>
    <p:sldLayoutId id="2147484438" r:id="rId3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100"/>
        </a:lnSpc>
        <a:spcBef>
          <a:spcPts val="600"/>
        </a:spcBef>
        <a:spcAft>
          <a:spcPts val="0"/>
        </a:spcAft>
        <a:buClr>
          <a:schemeClr val="accent1"/>
        </a:buClr>
        <a:buFontTx/>
        <a:buNone/>
        <a:defRPr sz="22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100"/>
        </a:lnSpc>
        <a:spcBef>
          <a:spcPts val="600"/>
        </a:spcBef>
        <a:spcAft>
          <a:spcPts val="0"/>
        </a:spcAft>
        <a:buClr>
          <a:schemeClr val="accent2"/>
        </a:buClr>
        <a:buFontTx/>
        <a:buNone/>
        <a:defRPr sz="1800" kern="1200">
          <a:solidFill>
            <a:srgbClr val="475961"/>
          </a:solidFill>
          <a:latin typeface="+mn-lt"/>
          <a:ea typeface="+mn-ea"/>
          <a:cs typeface="+mn-cs"/>
        </a:defRPr>
      </a:lvl2pPr>
      <a:lvl3pPr marL="216000" indent="-180975" algn="l" defTabSz="914400" rtl="0" eaLnBrk="1" latinLnBrk="0" hangingPunct="1">
        <a:lnSpc>
          <a:spcPts val="21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800" kern="1200">
          <a:solidFill>
            <a:srgbClr val="475961"/>
          </a:solidFill>
          <a:latin typeface="+mn-lt"/>
          <a:ea typeface="+mn-ea"/>
          <a:cs typeface="+mn-cs"/>
        </a:defRPr>
      </a:lvl3pPr>
      <a:lvl4pPr marL="432000" indent="-171450" algn="l" defTabSz="914400" rtl="0" eaLnBrk="1" latinLnBrk="0" hangingPunct="1">
        <a:lnSpc>
          <a:spcPts val="2100"/>
        </a:lnSpc>
        <a:spcBef>
          <a:spcPts val="600"/>
        </a:spcBef>
        <a:spcAft>
          <a:spcPts val="0"/>
        </a:spcAft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rgbClr val="475961"/>
          </a:solidFill>
          <a:latin typeface="+mn-lt"/>
          <a:ea typeface="+mn-ea"/>
          <a:cs typeface="+mn-cs"/>
        </a:defRPr>
      </a:lvl4pPr>
      <a:lvl5pPr marL="648000" indent="-180975" algn="l" defTabSz="914400" rtl="0" eaLnBrk="1" latinLnBrk="0" hangingPunct="1">
        <a:lnSpc>
          <a:spcPts val="2100"/>
        </a:lnSpc>
        <a:spcBef>
          <a:spcPts val="600"/>
        </a:spcBef>
        <a:spcAft>
          <a:spcPts val="0"/>
        </a:spcAft>
        <a:buClr>
          <a:srgbClr val="475961"/>
        </a:buClr>
        <a:buFont typeface="Arial" panose="020B0604020202020204" pitchFamily="34" charset="0"/>
        <a:buChar char="•"/>
        <a:defRPr sz="1800" kern="1200">
          <a:solidFill>
            <a:srgbClr val="47596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2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3725">
          <p15:clr>
            <a:srgbClr val="F26B43"/>
          </p15:clr>
        </p15:guide>
        <p15:guide id="4" pos="3840">
          <p15:clr>
            <a:srgbClr val="F26B43"/>
          </p15:clr>
        </p15:guide>
        <p15:guide id="5" pos="4021">
          <p15:clr>
            <a:srgbClr val="F26B43"/>
          </p15:clr>
        </p15:guide>
        <p15:guide id="6" pos="2842">
          <p15:clr>
            <a:srgbClr val="F26B43"/>
          </p15:clr>
        </p15:guide>
        <p15:guide id="7" pos="2661">
          <p15:clr>
            <a:srgbClr val="F26B43"/>
          </p15:clr>
        </p15:guide>
        <p15:guide id="8" pos="1663">
          <p15:clr>
            <a:srgbClr val="F26B43"/>
          </p15:clr>
        </p15:guide>
        <p15:guide id="9" pos="1481">
          <p15:clr>
            <a:srgbClr val="F26B43"/>
          </p15:clr>
        </p15:guide>
        <p15:guide id="10" pos="483">
          <p15:clr>
            <a:srgbClr val="F26B43"/>
          </p15:clr>
        </p15:guide>
        <p15:guide id="11" pos="7378">
          <p15:clr>
            <a:srgbClr val="F26B43"/>
          </p15:clr>
        </p15:guide>
        <p15:guide id="12" pos="5019">
          <p15:clr>
            <a:srgbClr val="F26B43"/>
          </p15:clr>
        </p15:guide>
        <p15:guide id="13" pos="5201">
          <p15:clr>
            <a:srgbClr val="F26B43"/>
          </p15:clr>
        </p15:guide>
        <p15:guide id="14" pos="6199">
          <p15:clr>
            <a:srgbClr val="F26B43"/>
          </p15:clr>
        </p15:guide>
        <p15:guide id="15" pos="63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B3B481C-D7C1-E8E5-9D7B-43EA87B87D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l-G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CB4D26-BBD0-DEFD-7B09-5A853C4D97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l-G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FC7466-5E06-71D8-E934-E26ED3C1E4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CD551E5-2D60-400E-A5BC-052B4E8F3FAA}" type="datetimeFigureOut">
              <a:rPr lang="el-GR" smtClean="0"/>
              <a:t>12/6/2025</a:t>
            </a:fld>
            <a:endParaRPr lang="el-G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DE83E9-EB5A-5055-B969-0E6BE303CF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B56826-2E4D-7D05-2BC7-DB2F5C63F8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2C207C-777A-4C25-8361-F618AF0032ED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3671923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  <p:sldLayoutId id="2147484445" r:id="rId6"/>
    <p:sldLayoutId id="2147484446" r:id="rId7"/>
    <p:sldLayoutId id="2147484447" r:id="rId8"/>
    <p:sldLayoutId id="2147484448" r:id="rId9"/>
    <p:sldLayoutId id="2147484449" r:id="rId10"/>
    <p:sldLayoutId id="2147484450" r:id="rId11"/>
  </p:sldLayoutIdLst>
  <p:txStyles>
    <p:titleStyle>
      <a:lvl1pPr algn="l" defTabSz="913860" rtl="0" eaLnBrk="1" latinLnBrk="0" hangingPunct="1">
        <a:lnSpc>
          <a:spcPct val="90000"/>
        </a:lnSpc>
        <a:spcBef>
          <a:spcPct val="0"/>
        </a:spcBef>
        <a:buNone/>
        <a:defRPr sz="439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65" indent="-228465" algn="l" defTabSz="91386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8" kern="1200">
          <a:solidFill>
            <a:schemeClr val="tx1"/>
          </a:solidFill>
          <a:latin typeface="+mn-lt"/>
          <a:ea typeface="+mn-ea"/>
          <a:cs typeface="+mn-cs"/>
        </a:defRPr>
      </a:lvl1pPr>
      <a:lvl2pPr marL="68539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2399" kern="1200">
          <a:solidFill>
            <a:schemeClr val="tx1"/>
          </a:solidFill>
          <a:latin typeface="+mn-lt"/>
          <a:ea typeface="+mn-ea"/>
          <a:cs typeface="+mn-cs"/>
        </a:defRPr>
      </a:lvl2pPr>
      <a:lvl3pPr marL="114232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999" kern="1200">
          <a:solidFill>
            <a:schemeClr val="tx1"/>
          </a:solidFill>
          <a:latin typeface="+mn-lt"/>
          <a:ea typeface="+mn-ea"/>
          <a:cs typeface="+mn-cs"/>
        </a:defRPr>
      </a:lvl3pPr>
      <a:lvl4pPr marL="159925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618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311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7004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97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3905" indent="-228465" algn="l" defTabSz="913860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3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6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9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72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65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58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510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439" algn="l" defTabSz="913860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9.xml"/><Relationship Id="rId4" Type="http://schemas.openxmlformats.org/officeDocument/2006/relationships/image" Target="../media/image37.pn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25.xml"/><Relationship Id="rId18" Type="http://schemas.openxmlformats.org/officeDocument/2006/relationships/image" Target="../media/image14.png"/><Relationship Id="rId26" Type="http://schemas.openxmlformats.org/officeDocument/2006/relationships/image" Target="../media/image45.svg"/><Relationship Id="rId39" Type="http://schemas.openxmlformats.org/officeDocument/2006/relationships/image" Target="../media/image58.png"/><Relationship Id="rId21" Type="http://schemas.openxmlformats.org/officeDocument/2006/relationships/image" Target="../media/image40.png"/><Relationship Id="rId34" Type="http://schemas.openxmlformats.org/officeDocument/2006/relationships/image" Target="../media/image53.svg"/><Relationship Id="rId42" Type="http://schemas.openxmlformats.org/officeDocument/2006/relationships/image" Target="../media/image61.svg"/><Relationship Id="rId47" Type="http://schemas.openxmlformats.org/officeDocument/2006/relationships/image" Target="../media/image66.emf"/><Relationship Id="rId50" Type="http://schemas.openxmlformats.org/officeDocument/2006/relationships/image" Target="../media/image69.png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6" Type="http://schemas.openxmlformats.org/officeDocument/2006/relationships/slideLayout" Target="../slideLayouts/slideLayout90.xml"/><Relationship Id="rId29" Type="http://schemas.openxmlformats.org/officeDocument/2006/relationships/image" Target="../media/image48.png"/><Relationship Id="rId11" Type="http://schemas.openxmlformats.org/officeDocument/2006/relationships/tags" Target="../tags/tag123.xml"/><Relationship Id="rId24" Type="http://schemas.openxmlformats.org/officeDocument/2006/relationships/image" Target="../media/image43.svg"/><Relationship Id="rId32" Type="http://schemas.openxmlformats.org/officeDocument/2006/relationships/image" Target="../media/image51.svg"/><Relationship Id="rId37" Type="http://schemas.openxmlformats.org/officeDocument/2006/relationships/image" Target="../media/image56.png"/><Relationship Id="rId40" Type="http://schemas.openxmlformats.org/officeDocument/2006/relationships/image" Target="../media/image59.svg"/><Relationship Id="rId45" Type="http://schemas.openxmlformats.org/officeDocument/2006/relationships/image" Target="../media/image64.png"/><Relationship Id="rId5" Type="http://schemas.openxmlformats.org/officeDocument/2006/relationships/tags" Target="../tags/tag117.xml"/><Relationship Id="rId15" Type="http://schemas.openxmlformats.org/officeDocument/2006/relationships/tags" Target="../tags/tag127.xml"/><Relationship Id="rId23" Type="http://schemas.openxmlformats.org/officeDocument/2006/relationships/image" Target="../media/image42.png"/><Relationship Id="rId28" Type="http://schemas.openxmlformats.org/officeDocument/2006/relationships/image" Target="../media/image47.svg"/><Relationship Id="rId36" Type="http://schemas.openxmlformats.org/officeDocument/2006/relationships/image" Target="../media/image55.svg"/><Relationship Id="rId49" Type="http://schemas.openxmlformats.org/officeDocument/2006/relationships/image" Target="../media/image68.svg"/><Relationship Id="rId10" Type="http://schemas.openxmlformats.org/officeDocument/2006/relationships/tags" Target="../tags/tag122.xml"/><Relationship Id="rId19" Type="http://schemas.openxmlformats.org/officeDocument/2006/relationships/image" Target="../media/image38.png"/><Relationship Id="rId31" Type="http://schemas.openxmlformats.org/officeDocument/2006/relationships/image" Target="../media/image50.png"/><Relationship Id="rId44" Type="http://schemas.openxmlformats.org/officeDocument/2006/relationships/image" Target="../media/image63.svg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4" Type="http://schemas.openxmlformats.org/officeDocument/2006/relationships/tags" Target="../tags/tag126.xml"/><Relationship Id="rId22" Type="http://schemas.openxmlformats.org/officeDocument/2006/relationships/image" Target="../media/image41.svg"/><Relationship Id="rId27" Type="http://schemas.openxmlformats.org/officeDocument/2006/relationships/image" Target="../media/image46.png"/><Relationship Id="rId30" Type="http://schemas.openxmlformats.org/officeDocument/2006/relationships/image" Target="../media/image49.svg"/><Relationship Id="rId35" Type="http://schemas.openxmlformats.org/officeDocument/2006/relationships/image" Target="../media/image54.png"/><Relationship Id="rId43" Type="http://schemas.openxmlformats.org/officeDocument/2006/relationships/image" Target="../media/image62.png"/><Relationship Id="rId48" Type="http://schemas.openxmlformats.org/officeDocument/2006/relationships/image" Target="../media/image67.png"/><Relationship Id="rId8" Type="http://schemas.openxmlformats.org/officeDocument/2006/relationships/tags" Target="../tags/tag120.xml"/><Relationship Id="rId51" Type="http://schemas.openxmlformats.org/officeDocument/2006/relationships/image" Target="../media/image70.svg"/><Relationship Id="rId3" Type="http://schemas.openxmlformats.org/officeDocument/2006/relationships/tags" Target="../tags/tag115.xml"/><Relationship Id="rId12" Type="http://schemas.openxmlformats.org/officeDocument/2006/relationships/tags" Target="../tags/tag124.xml"/><Relationship Id="rId17" Type="http://schemas.openxmlformats.org/officeDocument/2006/relationships/notesSlide" Target="../notesSlides/notesSlide2.xml"/><Relationship Id="rId25" Type="http://schemas.openxmlformats.org/officeDocument/2006/relationships/image" Target="../media/image44.png"/><Relationship Id="rId33" Type="http://schemas.openxmlformats.org/officeDocument/2006/relationships/image" Target="../media/image52.png"/><Relationship Id="rId38" Type="http://schemas.openxmlformats.org/officeDocument/2006/relationships/image" Target="../media/image57.svg"/><Relationship Id="rId46" Type="http://schemas.openxmlformats.org/officeDocument/2006/relationships/image" Target="../media/image65.svg"/><Relationship Id="rId20" Type="http://schemas.openxmlformats.org/officeDocument/2006/relationships/image" Target="../media/image39.svg"/><Relationship Id="rId41" Type="http://schemas.openxmlformats.org/officeDocument/2006/relationships/image" Target="../media/image60.png"/><Relationship Id="rId1" Type="http://schemas.openxmlformats.org/officeDocument/2006/relationships/tags" Target="../tags/tag113.xml"/><Relationship Id="rId6" Type="http://schemas.openxmlformats.org/officeDocument/2006/relationships/tags" Target="../tags/tag1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13" Type="http://schemas.openxmlformats.org/officeDocument/2006/relationships/image" Target="../media/image82.png"/><Relationship Id="rId3" Type="http://schemas.openxmlformats.org/officeDocument/2006/relationships/image" Target="../media/image72.png"/><Relationship Id="rId7" Type="http://schemas.openxmlformats.org/officeDocument/2006/relationships/image" Target="../media/image76.png"/><Relationship Id="rId12" Type="http://schemas.openxmlformats.org/officeDocument/2006/relationships/image" Target="../media/image8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75.jpg"/><Relationship Id="rId11" Type="http://schemas.openxmlformats.org/officeDocument/2006/relationships/image" Target="../media/image80.png"/><Relationship Id="rId5" Type="http://schemas.openxmlformats.org/officeDocument/2006/relationships/image" Target="../media/image74.png"/><Relationship Id="rId10" Type="http://schemas.openxmlformats.org/officeDocument/2006/relationships/image" Target="../media/image79.png"/><Relationship Id="rId4" Type="http://schemas.openxmlformats.org/officeDocument/2006/relationships/image" Target="../media/image73.png"/><Relationship Id="rId9" Type="http://schemas.openxmlformats.org/officeDocument/2006/relationships/image" Target="../media/image78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svg"/><Relationship Id="rId3" Type="http://schemas.openxmlformats.org/officeDocument/2006/relationships/image" Target="../media/image83.png"/><Relationship Id="rId7" Type="http://schemas.openxmlformats.org/officeDocument/2006/relationships/image" Target="../media/image8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85.svg"/><Relationship Id="rId5" Type="http://schemas.openxmlformats.org/officeDocument/2006/relationships/image" Target="../media/image84.png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F957D-D41D-67C2-218B-B5FC396265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oup of people in front of computers&#10;&#10;Description automatically generated">
            <a:extLst>
              <a:ext uri="{FF2B5EF4-FFF2-40B4-BE49-F238E27FC236}">
                <a16:creationId xmlns:a16="http://schemas.microsoft.com/office/drawing/2014/main" id="{CBD34BFC-1154-724E-0CB1-5446DB3785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6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584E42EC-197E-83EC-D987-4B8F27508745}"/>
              </a:ext>
            </a:extLst>
          </p:cNvPr>
          <p:cNvGrpSpPr/>
          <p:nvPr/>
        </p:nvGrpSpPr>
        <p:grpSpPr>
          <a:xfrm>
            <a:off x="1295424" y="3840884"/>
            <a:ext cx="9601152" cy="3225634"/>
            <a:chOff x="2039500" y="3840884"/>
            <a:chExt cx="9601152" cy="3225634"/>
          </a:xfrm>
        </p:grpSpPr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D2A2EC48-80FB-993B-65B8-4DC6D50E403A}"/>
                </a:ext>
              </a:extLst>
            </p:cNvPr>
            <p:cNvCxnSpPr>
              <a:cxnSpLocks/>
            </p:cNvCxnSpPr>
            <p:nvPr/>
          </p:nvCxnSpPr>
          <p:spPr>
            <a:xfrm>
              <a:off x="2042151" y="3840884"/>
              <a:ext cx="9576000" cy="0"/>
            </a:xfrm>
            <a:prstGeom prst="line">
              <a:avLst/>
            </a:prstGeom>
            <a:ln w="142875">
              <a:solidFill>
                <a:srgbClr val="2232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6CF914BD-60E5-41D6-58DA-6D2170A4AB55}"/>
                </a:ext>
              </a:extLst>
            </p:cNvPr>
            <p:cNvSpPr/>
            <p:nvPr/>
          </p:nvSpPr>
          <p:spPr>
            <a:xfrm>
              <a:off x="2039500" y="3895342"/>
              <a:ext cx="9576000" cy="2471438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Segoe UI"/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3FF9D16F-5EC7-C71E-DD67-82F2B0B623AD}"/>
                </a:ext>
              </a:extLst>
            </p:cNvPr>
            <p:cNvCxnSpPr>
              <a:cxnSpLocks/>
            </p:cNvCxnSpPr>
            <p:nvPr/>
          </p:nvCxnSpPr>
          <p:spPr>
            <a:xfrm>
              <a:off x="2042151" y="6417694"/>
              <a:ext cx="9576000" cy="9300"/>
            </a:xfrm>
            <a:prstGeom prst="line">
              <a:avLst/>
            </a:prstGeom>
            <a:ln w="142875">
              <a:solidFill>
                <a:srgbClr val="22326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7" name="Picture 6" descr="A logo with blue and yellow text&#10;&#10;Description automatically generated">
              <a:extLst>
                <a:ext uri="{FF2B5EF4-FFF2-40B4-BE49-F238E27FC236}">
                  <a16:creationId xmlns:a16="http://schemas.microsoft.com/office/drawing/2014/main" id="{F4679913-2889-FD20-5D1D-C715EB04D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9051789" y="5412262"/>
              <a:ext cx="2294589" cy="948274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8A5F139-E1B9-D0D9-6FBE-790A77EC3070}"/>
                </a:ext>
              </a:extLst>
            </p:cNvPr>
            <p:cNvSpPr txBox="1"/>
            <p:nvPr/>
          </p:nvSpPr>
          <p:spPr>
            <a:xfrm>
              <a:off x="2064652" y="3896419"/>
              <a:ext cx="9576000" cy="317009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b="1" i="0" u="none" strike="noStrike" kern="1200" cap="none" spc="0" normalizeH="0" baseline="0" noProof="0" dirty="0">
                  <a:ln>
                    <a:noFill/>
                  </a:ln>
                  <a:solidFill>
                    <a:srgbClr val="22326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ITAN’s AI-powered digital transform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2232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000" b="1" i="0" u="none" strike="noStrike" kern="1200" cap="none" spc="0" normalizeH="0" baseline="0" noProof="0" dirty="0">
                  <a:ln>
                    <a:noFill/>
                  </a:ln>
                  <a:solidFill>
                    <a:srgbClr val="22326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Antonis Kyrkos, Chief Digital &amp; Strategy Officer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600" b="1" dirty="0">
                <a:solidFill>
                  <a:srgbClr val="22326E"/>
                </a:solidFill>
                <a:latin typeface="Calibri" panose="020F0502020204030204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22326E"/>
                  </a:solidFill>
                  <a:latin typeface="Calibri" panose="020F0502020204030204"/>
                </a:rPr>
                <a:t>GCCA CEO Gathering &amp; Leaders Conference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2326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400" b="1" dirty="0">
                  <a:solidFill>
                    <a:srgbClr val="22326E"/>
                  </a:solidFill>
                  <a:latin typeface="Calibri" panose="020F0502020204030204"/>
                </a:rPr>
                <a:t>Mexico City, 3 June</a:t>
              </a:r>
              <a:r>
                <a: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22326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2025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32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22326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18816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19C01B-F5BB-10B1-6A9B-8045061A12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62DCA641-C054-29B0-234A-745846333C3B}"/>
              </a:ext>
            </a:extLst>
          </p:cNvPr>
          <p:cNvSpPr/>
          <p:nvPr/>
        </p:nvSpPr>
        <p:spPr>
          <a:xfrm>
            <a:off x="2" y="1184690"/>
            <a:ext cx="6025138" cy="5673309"/>
          </a:xfrm>
          <a:prstGeom prst="round1Rect">
            <a:avLst>
              <a:gd name="adj" fmla="val 3552"/>
            </a:avLst>
          </a:prstGeom>
          <a:solidFill>
            <a:srgbClr val="2B2F70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8C3CC29-60D9-6E94-85C7-788F2A46E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489584"/>
            <a:ext cx="10866437" cy="886397"/>
          </a:xfrm>
        </p:spPr>
        <p:txBody>
          <a:bodyPr/>
          <a:lstStyle/>
          <a:p>
            <a:r>
              <a:rPr lang="en-US" sz="3200" dirty="0"/>
              <a:t>TITAN has already built unique capabilities and assets</a:t>
            </a:r>
            <a:br>
              <a:rPr lang="en-US" sz="3200" dirty="0"/>
            </a:br>
            <a:endParaRPr lang="el-GR" sz="32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3C2E4D2-F0D0-0A40-AF73-1AB85A53B513}"/>
              </a:ext>
            </a:extLst>
          </p:cNvPr>
          <p:cNvSpPr txBox="1">
            <a:spLocks/>
          </p:cNvSpPr>
          <p:nvPr/>
        </p:nvSpPr>
        <p:spPr>
          <a:xfrm>
            <a:off x="307894" y="1144050"/>
            <a:ext cx="2570973" cy="32101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ts val="2100"/>
              </a:lnSpc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Tx/>
              <a:buNone/>
              <a:defRPr sz="2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Tx/>
              <a:buNone/>
              <a:defRPr sz="1800" kern="1200">
                <a:solidFill>
                  <a:srgbClr val="475961"/>
                </a:solidFill>
                <a:latin typeface="+mn-lt"/>
                <a:ea typeface="+mn-ea"/>
                <a:cs typeface="+mn-cs"/>
              </a:defRPr>
            </a:lvl2pPr>
            <a:lvl3pPr marL="216000" indent="-180975" algn="l" defTabSz="914400" rtl="0" eaLnBrk="1" latinLnBrk="0" hangingPunct="1">
              <a:lnSpc>
                <a:spcPts val="2100"/>
              </a:lnSpc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kern="1200">
                <a:solidFill>
                  <a:srgbClr val="475961"/>
                </a:solidFill>
                <a:latin typeface="+mn-lt"/>
                <a:ea typeface="+mn-ea"/>
                <a:cs typeface="+mn-cs"/>
              </a:defRPr>
            </a:lvl3pPr>
            <a:lvl4pPr marL="432000" indent="-171450" algn="l" defTabSz="914400" rtl="0" eaLnBrk="1" latinLnBrk="0" hangingPunct="1">
              <a:lnSpc>
                <a:spcPts val="21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800" kern="1200">
                <a:solidFill>
                  <a:srgbClr val="475961"/>
                </a:solidFill>
                <a:latin typeface="+mn-lt"/>
                <a:ea typeface="+mn-ea"/>
                <a:cs typeface="+mn-cs"/>
              </a:defRPr>
            </a:lvl4pPr>
            <a:lvl5pPr marL="648000" indent="-180975" algn="l" defTabSz="914400" rtl="0" eaLnBrk="1" latinLnBrk="0" hangingPunct="1">
              <a:lnSpc>
                <a:spcPts val="2100"/>
              </a:lnSpc>
              <a:spcBef>
                <a:spcPts val="600"/>
              </a:spcBef>
              <a:spcAft>
                <a:spcPts val="0"/>
              </a:spcAft>
              <a:buClr>
                <a:srgbClr val="475961"/>
              </a:buClr>
              <a:buFont typeface="Arial" panose="020B0604020202020204" pitchFamily="34" charset="0"/>
              <a:buChar char="•"/>
              <a:defRPr sz="1800" kern="1200">
                <a:solidFill>
                  <a:srgbClr val="47596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2100"/>
              </a:lnSpc>
              <a:spcBef>
                <a:spcPts val="600"/>
              </a:spcBef>
              <a:spcAft>
                <a:spcPts val="0"/>
              </a:spcAft>
              <a:buClr>
                <a:srgbClr val="0066B1"/>
              </a:buClr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nufacturing</a:t>
            </a:r>
          </a:p>
        </p:txBody>
      </p:sp>
      <p:sp>
        <p:nvSpPr>
          <p:cNvPr id="7" name="Slide Number Placeholder 19">
            <a:extLst>
              <a:ext uri="{FF2B5EF4-FFF2-40B4-BE49-F238E27FC236}">
                <a16:creationId xmlns:a16="http://schemas.microsoft.com/office/drawing/2014/main" id="{A58683D8-2B2C-7BB8-2E5E-3E6D313E36A9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lIns="0" tIns="0" rIns="0" bIns="0"/>
          <a:lstStyle>
            <a:defPPr>
              <a:defRPr lang="de-DE"/>
            </a:defPPr>
            <a:lvl1pPr marL="0" algn="l" defTabSz="914400" rtl="0" eaLnBrk="1" latinLnBrk="0" hangingPunct="1">
              <a:defRPr sz="1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3EA688B-3360-60B0-1E3A-BF71D080521E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alphaModFix amt="40000"/>
          </a:blip>
          <a:srcRect l="50158" t="51505" r="-1"/>
          <a:stretch/>
        </p:blipFill>
        <p:spPr>
          <a:xfrm rot="16200000" flipH="1">
            <a:off x="-2202119" y="3911972"/>
            <a:ext cx="5423434" cy="4686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D5BFB3B-9327-C8B4-63A3-99A4AEE7209A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alphaModFix amt="40000"/>
          </a:blip>
          <a:srcRect l="50158" t="51505" r="-1"/>
          <a:stretch/>
        </p:blipFill>
        <p:spPr>
          <a:xfrm rot="16200000" flipH="1">
            <a:off x="656493" y="3911974"/>
            <a:ext cx="5423433" cy="468616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F115E664-FE32-92E3-E1CA-B1EBFF352EB1}"/>
              </a:ext>
            </a:extLst>
          </p:cNvPr>
          <p:cNvSpPr/>
          <p:nvPr/>
        </p:nvSpPr>
        <p:spPr>
          <a:xfrm>
            <a:off x="3284379" y="4216072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E1F7EFCA-3E91-30F0-64AB-ED3EB1827F60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85168" y="4213896"/>
            <a:ext cx="1411148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Network optimization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53E22A6-DA11-D480-63B4-80B6A5C9EEF9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07951" y="4329007"/>
            <a:ext cx="244866" cy="244866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04C5030-856F-3E50-77DC-3B90B0B7F992}"/>
              </a:ext>
            </a:extLst>
          </p:cNvPr>
          <p:cNvCxnSpPr>
            <a:cxnSpLocks/>
          </p:cNvCxnSpPr>
          <p:nvPr/>
        </p:nvCxnSpPr>
        <p:spPr>
          <a:xfrm>
            <a:off x="3284379" y="3490052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F49D478-E8AE-21C8-83B7-411C3B3D395C}"/>
              </a:ext>
            </a:extLst>
          </p:cNvPr>
          <p:cNvSpPr/>
          <p:nvPr/>
        </p:nvSpPr>
        <p:spPr>
          <a:xfrm>
            <a:off x="3284379" y="3604990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305DDF36-BE42-2634-5FE1-89D8FB11D0C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785168" y="3713613"/>
            <a:ext cx="1411148" cy="2215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Digitized S&amp;OP</a:t>
            </a: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2283CB57-9570-4FDF-E98D-9F55B8727261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15045" y="3701981"/>
            <a:ext cx="244866" cy="244866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3E407A48-4C08-1702-E923-C80C5912CF18}"/>
              </a:ext>
            </a:extLst>
          </p:cNvPr>
          <p:cNvCxnSpPr>
            <a:cxnSpLocks/>
          </p:cNvCxnSpPr>
          <p:nvPr/>
        </p:nvCxnSpPr>
        <p:spPr>
          <a:xfrm>
            <a:off x="3284379" y="4158774"/>
            <a:ext cx="25709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92C77C95-09D6-C168-74E5-2D194B7897DA}"/>
              </a:ext>
            </a:extLst>
          </p:cNvPr>
          <p:cNvSpPr/>
          <p:nvPr/>
        </p:nvSpPr>
        <p:spPr>
          <a:xfrm>
            <a:off x="3284379" y="1588265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0499DC83-0D5C-B529-A98F-8CA4EF0FF0F7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785168" y="1586089"/>
            <a:ext cx="1505327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Dynamic Logistics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(AI-based)</a:t>
            </a:r>
          </a:p>
        </p:txBody>
      </p:sp>
      <p:pic>
        <p:nvPicPr>
          <p:cNvPr id="22" name="Graphic 21">
            <a:extLst>
              <a:ext uri="{FF2B5EF4-FFF2-40B4-BE49-F238E27FC236}">
                <a16:creationId xmlns:a16="http://schemas.microsoft.com/office/drawing/2014/main" id="{99425232-8A2A-0ED0-B897-5C514D069BA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15045" y="1685256"/>
            <a:ext cx="244866" cy="244866"/>
          </a:xfrm>
          <a:prstGeom prst="rect">
            <a:avLst/>
          </a:prstGeom>
        </p:spPr>
      </p:pic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382F9D95-6C99-DCBE-806A-6F2C9C6E7647}"/>
              </a:ext>
            </a:extLst>
          </p:cNvPr>
          <p:cNvSpPr/>
          <p:nvPr/>
        </p:nvSpPr>
        <p:spPr>
          <a:xfrm>
            <a:off x="3266019" y="2932795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868E7886-2F0F-7567-3FD6-0896E4EBD3A7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785168" y="2821005"/>
            <a:ext cx="1629806" cy="66479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Spare parts inventory optimization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F538B83-13EC-A692-16AE-470829591104}"/>
              </a:ext>
            </a:extLst>
          </p:cNvPr>
          <p:cNvCxnSpPr>
            <a:cxnSpLocks/>
          </p:cNvCxnSpPr>
          <p:nvPr/>
        </p:nvCxnSpPr>
        <p:spPr>
          <a:xfrm>
            <a:off x="3284379" y="4774325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A1DBD61-632F-2546-C191-8E1AE28CC100}"/>
              </a:ext>
            </a:extLst>
          </p:cNvPr>
          <p:cNvSpPr/>
          <p:nvPr/>
        </p:nvSpPr>
        <p:spPr>
          <a:xfrm>
            <a:off x="3284379" y="4889263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BED69815-586F-A42E-A15E-7F7AAA7C34DC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785168" y="4887087"/>
            <a:ext cx="1411148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Customer experience</a:t>
            </a:r>
          </a:p>
        </p:txBody>
      </p:sp>
      <p:pic>
        <p:nvPicPr>
          <p:cNvPr id="28" name="Graphic 27">
            <a:extLst>
              <a:ext uri="{FF2B5EF4-FFF2-40B4-BE49-F238E27FC236}">
                <a16:creationId xmlns:a16="http://schemas.microsoft.com/office/drawing/2014/main" id="{4EAD4EA8-CC43-7F26-DA9E-B8A5EBBB31BC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15045" y="4986254"/>
            <a:ext cx="244866" cy="244866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EBC1194-0E97-15BB-4974-736290D58933}"/>
              </a:ext>
            </a:extLst>
          </p:cNvPr>
          <p:cNvCxnSpPr>
            <a:cxnSpLocks/>
          </p:cNvCxnSpPr>
          <p:nvPr/>
        </p:nvCxnSpPr>
        <p:spPr>
          <a:xfrm>
            <a:off x="3284379" y="5443047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CB70C744-A31C-52F6-C57F-7A1558110470}"/>
              </a:ext>
            </a:extLst>
          </p:cNvPr>
          <p:cNvSpPr/>
          <p:nvPr/>
        </p:nvSpPr>
        <p:spPr>
          <a:xfrm>
            <a:off x="3284379" y="5557989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1BD69E57-94D5-1641-6B1F-5CEB7BF63E60}"/>
              </a:ext>
            </a:extLst>
          </p:cNvPr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785168" y="5555813"/>
            <a:ext cx="1658735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Digital commercial analytics</a:t>
            </a:r>
          </a:p>
        </p:txBody>
      </p:sp>
      <p:pic>
        <p:nvPicPr>
          <p:cNvPr id="32" name="Graphic 31">
            <a:extLst>
              <a:ext uri="{FF2B5EF4-FFF2-40B4-BE49-F238E27FC236}">
                <a16:creationId xmlns:a16="http://schemas.microsoft.com/office/drawing/2014/main" id="{1089AC75-1E6F-9501-F42E-31EDC5C84588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15045" y="5654980"/>
            <a:ext cx="244866" cy="244866"/>
          </a:xfrm>
          <a:prstGeom prst="rect">
            <a:avLst/>
          </a:prstGeom>
        </p:spPr>
      </p:pic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13A4BBC8-D36B-1668-B208-891669F9F61A}"/>
              </a:ext>
            </a:extLst>
          </p:cNvPr>
          <p:cNvSpPr txBox="1">
            <a:spLocks/>
          </p:cNvSpPr>
          <p:nvPr/>
        </p:nvSpPr>
        <p:spPr>
          <a:xfrm>
            <a:off x="3284379" y="1215203"/>
            <a:ext cx="2570973" cy="3210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upply Chain &amp; Customer</a:t>
            </a:r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F1637FEB-8CB0-BB6A-6D1E-F5F69270EEA3}"/>
              </a:ext>
            </a:extLst>
          </p:cNvPr>
          <p:cNvSpPr/>
          <p:nvPr/>
        </p:nvSpPr>
        <p:spPr>
          <a:xfrm>
            <a:off x="425768" y="1598360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719E786A-5519-DB7B-71E5-C9C7CF7D6575}"/>
              </a:ext>
            </a:extLst>
          </p:cNvPr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39457" y="1596184"/>
            <a:ext cx="1486168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Real-time asset optimizers</a:t>
            </a:r>
          </a:p>
        </p:txBody>
      </p:sp>
      <p:pic>
        <p:nvPicPr>
          <p:cNvPr id="36" name="Graphic 35">
            <a:extLst>
              <a:ext uri="{FF2B5EF4-FFF2-40B4-BE49-F238E27FC236}">
                <a16:creationId xmlns:a16="http://schemas.microsoft.com/office/drawing/2014/main" id="{F209CD94-C232-C05E-E1B2-F854D907EAA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69933" y="1695351"/>
            <a:ext cx="244866" cy="244866"/>
          </a:xfrm>
          <a:prstGeom prst="rect">
            <a:avLst/>
          </a:prstGeom>
        </p:spPr>
      </p:pic>
      <p:pic>
        <p:nvPicPr>
          <p:cNvPr id="37" name="Graphic 36">
            <a:extLst>
              <a:ext uri="{FF2B5EF4-FFF2-40B4-BE49-F238E27FC236}">
                <a16:creationId xmlns:a16="http://schemas.microsoft.com/office/drawing/2014/main" id="{32A9D3D0-E6DB-2599-2BFD-D27599407B5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56434" y="1695351"/>
            <a:ext cx="244866" cy="244866"/>
          </a:xfrm>
          <a:prstGeom prst="rect">
            <a:avLst/>
          </a:prstGeom>
        </p:spPr>
      </p:pic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5D91D9A-7794-D424-F25D-C8138DBA15F6}"/>
              </a:ext>
            </a:extLst>
          </p:cNvPr>
          <p:cNvCxnSpPr>
            <a:cxnSpLocks/>
          </p:cNvCxnSpPr>
          <p:nvPr/>
        </p:nvCxnSpPr>
        <p:spPr>
          <a:xfrm>
            <a:off x="425768" y="2152144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550434CA-F775-5E11-7D8E-BF7DCFE390D5}"/>
              </a:ext>
            </a:extLst>
          </p:cNvPr>
          <p:cNvSpPr/>
          <p:nvPr/>
        </p:nvSpPr>
        <p:spPr>
          <a:xfrm>
            <a:off x="425768" y="2267082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8F73C285-39C0-E341-F7E9-4E1E53BEFFF3}"/>
              </a:ext>
            </a:extLst>
          </p:cNvPr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939457" y="2375705"/>
            <a:ext cx="1486168" cy="2215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Failure prediction</a:t>
            </a: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4862A0C0-C8D3-BA46-0235-5EC816B13E2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469933" y="2364073"/>
            <a:ext cx="244866" cy="244866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CFD3549E-CAD4-74D4-9FF4-CB012FC9C17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56434" y="2364073"/>
            <a:ext cx="244866" cy="244866"/>
          </a:xfrm>
          <a:prstGeom prst="rect">
            <a:avLst/>
          </a:prstGeom>
        </p:spPr>
      </p:pic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C3B69422-760C-7724-C057-B34D6269726D}"/>
              </a:ext>
            </a:extLst>
          </p:cNvPr>
          <p:cNvCxnSpPr>
            <a:cxnSpLocks/>
          </p:cNvCxnSpPr>
          <p:nvPr/>
        </p:nvCxnSpPr>
        <p:spPr>
          <a:xfrm>
            <a:off x="425768" y="2820866"/>
            <a:ext cx="25709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B29C2BD3-1A74-CF85-3C24-94F1D6FC5D68}"/>
              </a:ext>
            </a:extLst>
          </p:cNvPr>
          <p:cNvSpPr/>
          <p:nvPr/>
        </p:nvSpPr>
        <p:spPr>
          <a:xfrm>
            <a:off x="425768" y="2935804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0A44CD32-3EDA-AD1D-319F-EBA135D1F1FE}"/>
              </a:ext>
            </a:extLst>
          </p:cNvPr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939457" y="3044427"/>
            <a:ext cx="1486168" cy="2215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Quality prediction</a:t>
            </a:r>
          </a:p>
        </p:txBody>
      </p:sp>
      <p:pic>
        <p:nvPicPr>
          <p:cNvPr id="46" name="Graphic 45">
            <a:extLst>
              <a:ext uri="{FF2B5EF4-FFF2-40B4-BE49-F238E27FC236}">
                <a16:creationId xmlns:a16="http://schemas.microsoft.com/office/drawing/2014/main" id="{0C4FFD70-6222-B042-458D-731E3183263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56434" y="3032795"/>
            <a:ext cx="244866" cy="244866"/>
          </a:xfrm>
          <a:prstGeom prst="rect">
            <a:avLst/>
          </a:prstGeom>
        </p:spPr>
      </p:pic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58922834-49AC-7642-85BE-7577722A3DD0}"/>
              </a:ext>
            </a:extLst>
          </p:cNvPr>
          <p:cNvCxnSpPr>
            <a:cxnSpLocks/>
          </p:cNvCxnSpPr>
          <p:nvPr/>
        </p:nvCxnSpPr>
        <p:spPr>
          <a:xfrm>
            <a:off x="425768" y="3489588"/>
            <a:ext cx="25709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reeform: Shape 47">
            <a:extLst>
              <a:ext uri="{FF2B5EF4-FFF2-40B4-BE49-F238E27FC236}">
                <a16:creationId xmlns:a16="http://schemas.microsoft.com/office/drawing/2014/main" id="{AF1A4805-A024-AA3F-26C8-66351D2B47C7}"/>
              </a:ext>
            </a:extLst>
          </p:cNvPr>
          <p:cNvSpPr/>
          <p:nvPr/>
        </p:nvSpPr>
        <p:spPr>
          <a:xfrm>
            <a:off x="425768" y="3604526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735EE974-7E2A-19F3-495B-670908EF5C13}"/>
              </a:ext>
            </a:extLst>
          </p:cNvPr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939456" y="3602350"/>
            <a:ext cx="1676313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Advanced planning &amp; forecasting</a:t>
            </a:r>
          </a:p>
        </p:txBody>
      </p:sp>
      <p:pic>
        <p:nvPicPr>
          <p:cNvPr id="50" name="Graphic 49">
            <a:extLst>
              <a:ext uri="{FF2B5EF4-FFF2-40B4-BE49-F238E27FC236}">
                <a16:creationId xmlns:a16="http://schemas.microsoft.com/office/drawing/2014/main" id="{33548741-2917-9EEC-2830-B4C2357D4AF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56434" y="3701517"/>
            <a:ext cx="244866" cy="244866"/>
          </a:xfrm>
          <a:prstGeom prst="rect">
            <a:avLst/>
          </a:prstGeom>
        </p:spPr>
      </p:pic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FFD3B77-C919-0BD2-B269-B5A07EC2CA72}"/>
              </a:ext>
            </a:extLst>
          </p:cNvPr>
          <p:cNvCxnSpPr>
            <a:cxnSpLocks/>
          </p:cNvCxnSpPr>
          <p:nvPr/>
        </p:nvCxnSpPr>
        <p:spPr>
          <a:xfrm>
            <a:off x="425768" y="4158310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E1AA4975-375B-7420-B324-BA9A75B70E5B}"/>
              </a:ext>
            </a:extLst>
          </p:cNvPr>
          <p:cNvSpPr/>
          <p:nvPr/>
        </p:nvSpPr>
        <p:spPr>
          <a:xfrm>
            <a:off x="425768" y="4273248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3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190B497C-805D-5584-44BF-D8532F2AFD02}"/>
              </a:ext>
            </a:extLst>
          </p:cNvPr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939457" y="4381871"/>
            <a:ext cx="1486168" cy="2215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Drone inspection</a:t>
            </a:r>
          </a:p>
        </p:txBody>
      </p:sp>
      <p:pic>
        <p:nvPicPr>
          <p:cNvPr id="54" name="Graphic 53">
            <a:extLst>
              <a:ext uri="{FF2B5EF4-FFF2-40B4-BE49-F238E27FC236}">
                <a16:creationId xmlns:a16="http://schemas.microsoft.com/office/drawing/2014/main" id="{73575307-9F36-D082-BD18-06E4BB6C5BF6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56434" y="4370239"/>
            <a:ext cx="244866" cy="244866"/>
          </a:xfrm>
          <a:prstGeom prst="rect">
            <a:avLst/>
          </a:prstGeom>
        </p:spPr>
      </p:pic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AA52319E-998A-98D3-DF94-662458F53627}"/>
              </a:ext>
            </a:extLst>
          </p:cNvPr>
          <p:cNvCxnSpPr>
            <a:cxnSpLocks/>
          </p:cNvCxnSpPr>
          <p:nvPr/>
        </p:nvCxnSpPr>
        <p:spPr>
          <a:xfrm>
            <a:off x="425768" y="4827032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Freeform: Shape 55">
            <a:extLst>
              <a:ext uri="{FF2B5EF4-FFF2-40B4-BE49-F238E27FC236}">
                <a16:creationId xmlns:a16="http://schemas.microsoft.com/office/drawing/2014/main" id="{3883CE40-EF97-1CB0-A467-6840EDC3E01D}"/>
              </a:ext>
            </a:extLst>
          </p:cNvPr>
          <p:cNvSpPr/>
          <p:nvPr/>
        </p:nvSpPr>
        <p:spPr>
          <a:xfrm>
            <a:off x="425768" y="4941974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7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B439E8EA-DE5C-169E-1912-957D3BA6A0B9}"/>
              </a:ext>
            </a:extLst>
          </p:cNvPr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939457" y="4939798"/>
            <a:ext cx="1486168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Digitalized Health &amp; Safety</a:t>
            </a: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id="{7AABD134-5129-C08D-C49F-65A3B641F9E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56434" y="5038965"/>
            <a:ext cx="244866" cy="244866"/>
          </a:xfrm>
          <a:prstGeom prst="rect">
            <a:avLst/>
          </a:prstGeom>
        </p:spPr>
      </p:pic>
      <p:pic>
        <p:nvPicPr>
          <p:cNvPr id="59" name="Graphic 58">
            <a:extLst>
              <a:ext uri="{FF2B5EF4-FFF2-40B4-BE49-F238E27FC236}">
                <a16:creationId xmlns:a16="http://schemas.microsoft.com/office/drawing/2014/main" id="{E04E62C0-2047-F92B-3D8E-2B158DFF1B5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17561" y="1690078"/>
            <a:ext cx="255410" cy="255410"/>
          </a:xfrm>
          <a:prstGeom prst="rect">
            <a:avLst/>
          </a:prstGeom>
        </p:spPr>
      </p:pic>
      <p:pic>
        <p:nvPicPr>
          <p:cNvPr id="60" name="Graphic 59">
            <a:extLst>
              <a:ext uri="{FF2B5EF4-FFF2-40B4-BE49-F238E27FC236}">
                <a16:creationId xmlns:a16="http://schemas.microsoft.com/office/drawing/2014/main" id="{D8212D32-A5BB-5962-3FDD-37AB5BA14E93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514813" y="2356053"/>
            <a:ext cx="260906" cy="260906"/>
          </a:xfrm>
          <a:prstGeom prst="rect">
            <a:avLst/>
          </a:prstGeom>
        </p:spPr>
      </p:pic>
      <p:sp>
        <p:nvSpPr>
          <p:cNvPr id="61" name="Freeform: Shape 60">
            <a:extLst>
              <a:ext uri="{FF2B5EF4-FFF2-40B4-BE49-F238E27FC236}">
                <a16:creationId xmlns:a16="http://schemas.microsoft.com/office/drawing/2014/main" id="{51D0B830-B74F-5E83-3732-2D85E484837E}"/>
              </a:ext>
            </a:extLst>
          </p:cNvPr>
          <p:cNvSpPr/>
          <p:nvPr/>
        </p:nvSpPr>
        <p:spPr>
          <a:xfrm>
            <a:off x="514347" y="3715799"/>
            <a:ext cx="261838" cy="216302"/>
          </a:xfrm>
          <a:custGeom>
            <a:avLst/>
            <a:gdLst>
              <a:gd name="connsiteX0" fmla="*/ 249117 w 318316"/>
              <a:gd name="connsiteY0" fmla="*/ 138398 h 262957"/>
              <a:gd name="connsiteX1" fmla="*/ 269877 w 318316"/>
              <a:gd name="connsiteY1" fmla="*/ 138398 h 262957"/>
              <a:gd name="connsiteX2" fmla="*/ 290636 w 318316"/>
              <a:gd name="connsiteY2" fmla="*/ 138398 h 262957"/>
              <a:gd name="connsiteX3" fmla="*/ 304476 w 318316"/>
              <a:gd name="connsiteY3" fmla="*/ 152238 h 262957"/>
              <a:gd name="connsiteX4" fmla="*/ 304476 w 318316"/>
              <a:gd name="connsiteY4" fmla="*/ 193757 h 262957"/>
              <a:gd name="connsiteX5" fmla="*/ 290636 w 318316"/>
              <a:gd name="connsiteY5" fmla="*/ 207597 h 262957"/>
              <a:gd name="connsiteX6" fmla="*/ 289363 w 318316"/>
              <a:gd name="connsiteY6" fmla="*/ 207597 h 262957"/>
              <a:gd name="connsiteX7" fmla="*/ 276797 w 318316"/>
              <a:gd name="connsiteY7" fmla="*/ 220164 h 262957"/>
              <a:gd name="connsiteX8" fmla="*/ 276797 w 318316"/>
              <a:gd name="connsiteY8" fmla="*/ 235277 h 262957"/>
              <a:gd name="connsiteX9" fmla="*/ 297556 w 318316"/>
              <a:gd name="connsiteY9" fmla="*/ 235277 h 262957"/>
              <a:gd name="connsiteX10" fmla="*/ 304476 w 318316"/>
              <a:gd name="connsiteY10" fmla="*/ 242197 h 262957"/>
              <a:gd name="connsiteX11" fmla="*/ 297556 w 318316"/>
              <a:gd name="connsiteY11" fmla="*/ 249117 h 262957"/>
              <a:gd name="connsiteX12" fmla="*/ 276797 w 318316"/>
              <a:gd name="connsiteY12" fmla="*/ 249117 h 262957"/>
              <a:gd name="connsiteX13" fmla="*/ 276797 w 318316"/>
              <a:gd name="connsiteY13" fmla="*/ 256037 h 262957"/>
              <a:gd name="connsiteX14" fmla="*/ 269877 w 318316"/>
              <a:gd name="connsiteY14" fmla="*/ 262957 h 262957"/>
              <a:gd name="connsiteX15" fmla="*/ 262957 w 318316"/>
              <a:gd name="connsiteY15" fmla="*/ 256037 h 262957"/>
              <a:gd name="connsiteX16" fmla="*/ 262957 w 318316"/>
              <a:gd name="connsiteY16" fmla="*/ 249117 h 262957"/>
              <a:gd name="connsiteX17" fmla="*/ 242197 w 318316"/>
              <a:gd name="connsiteY17" fmla="*/ 249117 h 262957"/>
              <a:gd name="connsiteX18" fmla="*/ 235277 w 318316"/>
              <a:gd name="connsiteY18" fmla="*/ 242197 h 262957"/>
              <a:gd name="connsiteX19" fmla="*/ 242197 w 318316"/>
              <a:gd name="connsiteY19" fmla="*/ 235277 h 262957"/>
              <a:gd name="connsiteX20" fmla="*/ 262957 w 318316"/>
              <a:gd name="connsiteY20" fmla="*/ 235277 h 262957"/>
              <a:gd name="connsiteX21" fmla="*/ 262957 w 318316"/>
              <a:gd name="connsiteY21" fmla="*/ 220164 h 262957"/>
              <a:gd name="connsiteX22" fmla="*/ 250390 w 318316"/>
              <a:gd name="connsiteY22" fmla="*/ 207597 h 262957"/>
              <a:gd name="connsiteX23" fmla="*/ 249117 w 318316"/>
              <a:gd name="connsiteY23" fmla="*/ 207597 h 262957"/>
              <a:gd name="connsiteX24" fmla="*/ 235277 w 318316"/>
              <a:gd name="connsiteY24" fmla="*/ 193757 h 262957"/>
              <a:gd name="connsiteX25" fmla="*/ 235277 w 318316"/>
              <a:gd name="connsiteY25" fmla="*/ 152238 h 262957"/>
              <a:gd name="connsiteX26" fmla="*/ 249117 w 318316"/>
              <a:gd name="connsiteY26" fmla="*/ 138398 h 262957"/>
              <a:gd name="connsiteX27" fmla="*/ 27679 w 318316"/>
              <a:gd name="connsiteY27" fmla="*/ 138398 h 262957"/>
              <a:gd name="connsiteX28" fmla="*/ 48439 w 318316"/>
              <a:gd name="connsiteY28" fmla="*/ 138398 h 262957"/>
              <a:gd name="connsiteX29" fmla="*/ 69198 w 318316"/>
              <a:gd name="connsiteY29" fmla="*/ 138398 h 262957"/>
              <a:gd name="connsiteX30" fmla="*/ 83038 w 318316"/>
              <a:gd name="connsiteY30" fmla="*/ 152238 h 262957"/>
              <a:gd name="connsiteX31" fmla="*/ 83038 w 318316"/>
              <a:gd name="connsiteY31" fmla="*/ 193757 h 262957"/>
              <a:gd name="connsiteX32" fmla="*/ 69198 w 318316"/>
              <a:gd name="connsiteY32" fmla="*/ 207597 h 262957"/>
              <a:gd name="connsiteX33" fmla="*/ 67925 w 318316"/>
              <a:gd name="connsiteY33" fmla="*/ 207597 h 262957"/>
              <a:gd name="connsiteX34" fmla="*/ 55359 w 318316"/>
              <a:gd name="connsiteY34" fmla="*/ 220164 h 262957"/>
              <a:gd name="connsiteX35" fmla="*/ 55359 w 318316"/>
              <a:gd name="connsiteY35" fmla="*/ 235277 h 262957"/>
              <a:gd name="connsiteX36" fmla="*/ 76118 w 318316"/>
              <a:gd name="connsiteY36" fmla="*/ 235277 h 262957"/>
              <a:gd name="connsiteX37" fmla="*/ 83038 w 318316"/>
              <a:gd name="connsiteY37" fmla="*/ 242197 h 262957"/>
              <a:gd name="connsiteX38" fmla="*/ 76118 w 318316"/>
              <a:gd name="connsiteY38" fmla="*/ 249117 h 262957"/>
              <a:gd name="connsiteX39" fmla="*/ 55359 w 318316"/>
              <a:gd name="connsiteY39" fmla="*/ 249117 h 262957"/>
              <a:gd name="connsiteX40" fmla="*/ 55359 w 318316"/>
              <a:gd name="connsiteY40" fmla="*/ 256037 h 262957"/>
              <a:gd name="connsiteX41" fmla="*/ 48439 w 318316"/>
              <a:gd name="connsiteY41" fmla="*/ 262957 h 262957"/>
              <a:gd name="connsiteX42" fmla="*/ 41519 w 318316"/>
              <a:gd name="connsiteY42" fmla="*/ 256037 h 262957"/>
              <a:gd name="connsiteX43" fmla="*/ 41519 w 318316"/>
              <a:gd name="connsiteY43" fmla="*/ 249117 h 262957"/>
              <a:gd name="connsiteX44" fmla="*/ 20759 w 318316"/>
              <a:gd name="connsiteY44" fmla="*/ 249117 h 262957"/>
              <a:gd name="connsiteX45" fmla="*/ 13839 w 318316"/>
              <a:gd name="connsiteY45" fmla="*/ 242197 h 262957"/>
              <a:gd name="connsiteX46" fmla="*/ 20759 w 318316"/>
              <a:gd name="connsiteY46" fmla="*/ 235277 h 262957"/>
              <a:gd name="connsiteX47" fmla="*/ 41519 w 318316"/>
              <a:gd name="connsiteY47" fmla="*/ 235277 h 262957"/>
              <a:gd name="connsiteX48" fmla="*/ 41519 w 318316"/>
              <a:gd name="connsiteY48" fmla="*/ 220164 h 262957"/>
              <a:gd name="connsiteX49" fmla="*/ 28952 w 318316"/>
              <a:gd name="connsiteY49" fmla="*/ 207597 h 262957"/>
              <a:gd name="connsiteX50" fmla="*/ 27679 w 318316"/>
              <a:gd name="connsiteY50" fmla="*/ 207597 h 262957"/>
              <a:gd name="connsiteX51" fmla="*/ 13839 w 318316"/>
              <a:gd name="connsiteY51" fmla="*/ 193757 h 262957"/>
              <a:gd name="connsiteX52" fmla="*/ 13839 w 318316"/>
              <a:gd name="connsiteY52" fmla="*/ 152238 h 262957"/>
              <a:gd name="connsiteX53" fmla="*/ 27679 w 318316"/>
              <a:gd name="connsiteY53" fmla="*/ 138398 h 262957"/>
              <a:gd name="connsiteX54" fmla="*/ 138398 w 318316"/>
              <a:gd name="connsiteY54" fmla="*/ 110719 h 262957"/>
              <a:gd name="connsiteX55" fmla="*/ 159158 w 318316"/>
              <a:gd name="connsiteY55" fmla="*/ 110719 h 262957"/>
              <a:gd name="connsiteX56" fmla="*/ 179917 w 318316"/>
              <a:gd name="connsiteY56" fmla="*/ 110719 h 262957"/>
              <a:gd name="connsiteX57" fmla="*/ 193757 w 318316"/>
              <a:gd name="connsiteY57" fmla="*/ 124559 h 262957"/>
              <a:gd name="connsiteX58" fmla="*/ 193757 w 318316"/>
              <a:gd name="connsiteY58" fmla="*/ 166078 h 262957"/>
              <a:gd name="connsiteX59" fmla="*/ 179917 w 318316"/>
              <a:gd name="connsiteY59" fmla="*/ 179918 h 262957"/>
              <a:gd name="connsiteX60" fmla="*/ 178644 w 318316"/>
              <a:gd name="connsiteY60" fmla="*/ 179918 h 262957"/>
              <a:gd name="connsiteX61" fmla="*/ 166078 w 318316"/>
              <a:gd name="connsiteY61" fmla="*/ 192485 h 262957"/>
              <a:gd name="connsiteX62" fmla="*/ 166078 w 318316"/>
              <a:gd name="connsiteY62" fmla="*/ 207598 h 262957"/>
              <a:gd name="connsiteX63" fmla="*/ 186837 w 318316"/>
              <a:gd name="connsiteY63" fmla="*/ 207598 h 262957"/>
              <a:gd name="connsiteX64" fmla="*/ 193757 w 318316"/>
              <a:gd name="connsiteY64" fmla="*/ 214518 h 262957"/>
              <a:gd name="connsiteX65" fmla="*/ 186837 w 318316"/>
              <a:gd name="connsiteY65" fmla="*/ 221438 h 262957"/>
              <a:gd name="connsiteX66" fmla="*/ 166078 w 318316"/>
              <a:gd name="connsiteY66" fmla="*/ 221438 h 262957"/>
              <a:gd name="connsiteX67" fmla="*/ 166078 w 318316"/>
              <a:gd name="connsiteY67" fmla="*/ 228358 h 262957"/>
              <a:gd name="connsiteX68" fmla="*/ 159158 w 318316"/>
              <a:gd name="connsiteY68" fmla="*/ 235278 h 262957"/>
              <a:gd name="connsiteX69" fmla="*/ 152238 w 318316"/>
              <a:gd name="connsiteY69" fmla="*/ 228358 h 262957"/>
              <a:gd name="connsiteX70" fmla="*/ 152238 w 318316"/>
              <a:gd name="connsiteY70" fmla="*/ 221438 h 262957"/>
              <a:gd name="connsiteX71" fmla="*/ 131478 w 318316"/>
              <a:gd name="connsiteY71" fmla="*/ 221438 h 262957"/>
              <a:gd name="connsiteX72" fmla="*/ 124558 w 318316"/>
              <a:gd name="connsiteY72" fmla="*/ 214518 h 262957"/>
              <a:gd name="connsiteX73" fmla="*/ 131478 w 318316"/>
              <a:gd name="connsiteY73" fmla="*/ 207598 h 262957"/>
              <a:gd name="connsiteX74" fmla="*/ 152238 w 318316"/>
              <a:gd name="connsiteY74" fmla="*/ 207598 h 262957"/>
              <a:gd name="connsiteX75" fmla="*/ 152238 w 318316"/>
              <a:gd name="connsiteY75" fmla="*/ 192485 h 262957"/>
              <a:gd name="connsiteX76" fmla="*/ 139671 w 318316"/>
              <a:gd name="connsiteY76" fmla="*/ 179918 h 262957"/>
              <a:gd name="connsiteX77" fmla="*/ 138398 w 318316"/>
              <a:gd name="connsiteY77" fmla="*/ 179918 h 262957"/>
              <a:gd name="connsiteX78" fmla="*/ 124558 w 318316"/>
              <a:gd name="connsiteY78" fmla="*/ 166078 h 262957"/>
              <a:gd name="connsiteX79" fmla="*/ 124558 w 318316"/>
              <a:gd name="connsiteY79" fmla="*/ 124559 h 262957"/>
              <a:gd name="connsiteX80" fmla="*/ 138398 w 318316"/>
              <a:gd name="connsiteY80" fmla="*/ 110719 h 262957"/>
              <a:gd name="connsiteX81" fmla="*/ 269877 w 318316"/>
              <a:gd name="connsiteY81" fmla="*/ 83039 h 262957"/>
              <a:gd name="connsiteX82" fmla="*/ 290637 w 318316"/>
              <a:gd name="connsiteY82" fmla="*/ 103799 h 262957"/>
              <a:gd name="connsiteX83" fmla="*/ 269877 w 318316"/>
              <a:gd name="connsiteY83" fmla="*/ 124559 h 262957"/>
              <a:gd name="connsiteX84" fmla="*/ 249117 w 318316"/>
              <a:gd name="connsiteY84" fmla="*/ 103799 h 262957"/>
              <a:gd name="connsiteX85" fmla="*/ 269877 w 318316"/>
              <a:gd name="connsiteY85" fmla="*/ 83039 h 262957"/>
              <a:gd name="connsiteX86" fmla="*/ 48439 w 318316"/>
              <a:gd name="connsiteY86" fmla="*/ 83039 h 262957"/>
              <a:gd name="connsiteX87" fmla="*/ 69199 w 318316"/>
              <a:gd name="connsiteY87" fmla="*/ 103799 h 262957"/>
              <a:gd name="connsiteX88" fmla="*/ 48439 w 318316"/>
              <a:gd name="connsiteY88" fmla="*/ 124559 h 262957"/>
              <a:gd name="connsiteX89" fmla="*/ 27679 w 318316"/>
              <a:gd name="connsiteY89" fmla="*/ 103799 h 262957"/>
              <a:gd name="connsiteX90" fmla="*/ 48439 w 318316"/>
              <a:gd name="connsiteY90" fmla="*/ 83039 h 262957"/>
              <a:gd name="connsiteX91" fmla="*/ 159158 w 318316"/>
              <a:gd name="connsiteY91" fmla="*/ 55359 h 262957"/>
              <a:gd name="connsiteX92" fmla="*/ 179918 w 318316"/>
              <a:gd name="connsiteY92" fmla="*/ 76119 h 262957"/>
              <a:gd name="connsiteX93" fmla="*/ 159158 w 318316"/>
              <a:gd name="connsiteY93" fmla="*/ 96879 h 262957"/>
              <a:gd name="connsiteX94" fmla="*/ 138398 w 318316"/>
              <a:gd name="connsiteY94" fmla="*/ 76119 h 262957"/>
              <a:gd name="connsiteX95" fmla="*/ 159158 w 318316"/>
              <a:gd name="connsiteY95" fmla="*/ 55359 h 262957"/>
              <a:gd name="connsiteX96" fmla="*/ 238910 w 318316"/>
              <a:gd name="connsiteY96" fmla="*/ 5883 h 262957"/>
              <a:gd name="connsiteX97" fmla="*/ 247650 w 318316"/>
              <a:gd name="connsiteY97" fmla="*/ 6200 h 262957"/>
              <a:gd name="connsiteX98" fmla="*/ 305929 w 318316"/>
              <a:gd name="connsiteY98" fmla="*/ 35333 h 262957"/>
              <a:gd name="connsiteX99" fmla="*/ 318316 w 318316"/>
              <a:gd name="connsiteY99" fmla="*/ 55359 h 262957"/>
              <a:gd name="connsiteX100" fmla="*/ 318316 w 318316"/>
              <a:gd name="connsiteY100" fmla="*/ 124558 h 262957"/>
              <a:gd name="connsiteX101" fmla="*/ 305943 w 318316"/>
              <a:gd name="connsiteY101" fmla="*/ 132211 h 262957"/>
              <a:gd name="connsiteX102" fmla="*/ 295425 w 318316"/>
              <a:gd name="connsiteY102" fmla="*/ 126952 h 262957"/>
              <a:gd name="connsiteX103" fmla="*/ 304476 w 318316"/>
              <a:gd name="connsiteY103" fmla="*/ 103798 h 262957"/>
              <a:gd name="connsiteX104" fmla="*/ 269877 w 318316"/>
              <a:gd name="connsiteY104" fmla="*/ 69199 h 262957"/>
              <a:gd name="connsiteX105" fmla="*/ 237561 w 318316"/>
              <a:gd name="connsiteY105" fmla="*/ 91716 h 262957"/>
              <a:gd name="connsiteX106" fmla="*/ 235277 w 318316"/>
              <a:gd name="connsiteY106" fmla="*/ 83039 h 262957"/>
              <a:gd name="connsiteX107" fmla="*/ 235277 w 318316"/>
              <a:gd name="connsiteY107" fmla="*/ 13839 h 262957"/>
              <a:gd name="connsiteX108" fmla="*/ 238910 w 318316"/>
              <a:gd name="connsiteY108" fmla="*/ 5883 h 262957"/>
              <a:gd name="connsiteX109" fmla="*/ 79404 w 318316"/>
              <a:gd name="connsiteY109" fmla="*/ 5882 h 262957"/>
              <a:gd name="connsiteX110" fmla="*/ 83039 w 318316"/>
              <a:gd name="connsiteY110" fmla="*/ 13840 h 262957"/>
              <a:gd name="connsiteX111" fmla="*/ 83039 w 318316"/>
              <a:gd name="connsiteY111" fmla="*/ 83039 h 262957"/>
              <a:gd name="connsiteX112" fmla="*/ 80755 w 318316"/>
              <a:gd name="connsiteY112" fmla="*/ 91717 h 262957"/>
              <a:gd name="connsiteX113" fmla="*/ 48439 w 318316"/>
              <a:gd name="connsiteY113" fmla="*/ 69199 h 262957"/>
              <a:gd name="connsiteX114" fmla="*/ 13840 w 318316"/>
              <a:gd name="connsiteY114" fmla="*/ 103799 h 262957"/>
              <a:gd name="connsiteX115" fmla="*/ 22891 w 318316"/>
              <a:gd name="connsiteY115" fmla="*/ 126953 h 262957"/>
              <a:gd name="connsiteX116" fmla="*/ 12387 w 318316"/>
              <a:gd name="connsiteY116" fmla="*/ 132212 h 262957"/>
              <a:gd name="connsiteX117" fmla="*/ 0 w 318316"/>
              <a:gd name="connsiteY117" fmla="*/ 124559 h 262957"/>
              <a:gd name="connsiteX118" fmla="*/ 0 w 318316"/>
              <a:gd name="connsiteY118" fmla="*/ 55359 h 262957"/>
              <a:gd name="connsiteX119" fmla="*/ 12387 w 318316"/>
              <a:gd name="connsiteY119" fmla="*/ 35333 h 262957"/>
              <a:gd name="connsiteX120" fmla="*/ 70652 w 318316"/>
              <a:gd name="connsiteY120" fmla="*/ 6187 h 262957"/>
              <a:gd name="connsiteX121" fmla="*/ 79404 w 318316"/>
              <a:gd name="connsiteY121" fmla="*/ 5882 h 262957"/>
              <a:gd name="connsiteX122" fmla="*/ 110718 w 318316"/>
              <a:gd name="connsiteY122" fmla="*/ 0 h 262957"/>
              <a:gd name="connsiteX123" fmla="*/ 207597 w 318316"/>
              <a:gd name="connsiteY123" fmla="*/ 0 h 262957"/>
              <a:gd name="connsiteX124" fmla="*/ 221437 w 318316"/>
              <a:gd name="connsiteY124" fmla="*/ 13840 h 262957"/>
              <a:gd name="connsiteX125" fmla="*/ 221437 w 318316"/>
              <a:gd name="connsiteY125" fmla="*/ 83039 h 262957"/>
              <a:gd name="connsiteX126" fmla="*/ 207597 w 318316"/>
              <a:gd name="connsiteY126" fmla="*/ 96879 h 262957"/>
              <a:gd name="connsiteX127" fmla="*/ 186671 w 318316"/>
              <a:gd name="connsiteY127" fmla="*/ 96879 h 262957"/>
              <a:gd name="connsiteX128" fmla="*/ 193757 w 318316"/>
              <a:gd name="connsiteY128" fmla="*/ 76119 h 262957"/>
              <a:gd name="connsiteX129" fmla="*/ 159157 w 318316"/>
              <a:gd name="connsiteY129" fmla="*/ 41520 h 262957"/>
              <a:gd name="connsiteX130" fmla="*/ 124558 w 318316"/>
              <a:gd name="connsiteY130" fmla="*/ 76119 h 262957"/>
              <a:gd name="connsiteX131" fmla="*/ 131630 w 318316"/>
              <a:gd name="connsiteY131" fmla="*/ 96879 h 262957"/>
              <a:gd name="connsiteX132" fmla="*/ 110718 w 318316"/>
              <a:gd name="connsiteY132" fmla="*/ 96879 h 262957"/>
              <a:gd name="connsiteX133" fmla="*/ 96878 w 318316"/>
              <a:gd name="connsiteY133" fmla="*/ 83039 h 262957"/>
              <a:gd name="connsiteX134" fmla="*/ 96878 w 318316"/>
              <a:gd name="connsiteY134" fmla="*/ 13840 h 262957"/>
              <a:gd name="connsiteX135" fmla="*/ 110718 w 318316"/>
              <a:gd name="connsiteY135" fmla="*/ 0 h 262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</a:cxnLst>
            <a:rect l="l" t="t" r="r" b="b"/>
            <a:pathLst>
              <a:path w="318316" h="262957">
                <a:moveTo>
                  <a:pt x="249117" y="138398"/>
                </a:moveTo>
                <a:lnTo>
                  <a:pt x="269877" y="138398"/>
                </a:lnTo>
                <a:lnTo>
                  <a:pt x="290636" y="138398"/>
                </a:lnTo>
                <a:cubicBezTo>
                  <a:pt x="298248" y="138398"/>
                  <a:pt x="304476" y="144626"/>
                  <a:pt x="304476" y="152238"/>
                </a:cubicBezTo>
                <a:lnTo>
                  <a:pt x="304476" y="193757"/>
                </a:lnTo>
                <a:cubicBezTo>
                  <a:pt x="304476" y="201369"/>
                  <a:pt x="298248" y="207597"/>
                  <a:pt x="290636" y="207597"/>
                </a:cubicBezTo>
                <a:lnTo>
                  <a:pt x="289363" y="207597"/>
                </a:lnTo>
                <a:cubicBezTo>
                  <a:pt x="287273" y="213465"/>
                  <a:pt x="282665" y="218088"/>
                  <a:pt x="276797" y="220164"/>
                </a:cubicBezTo>
                <a:lnTo>
                  <a:pt x="276797" y="235277"/>
                </a:lnTo>
                <a:lnTo>
                  <a:pt x="297556" y="235277"/>
                </a:lnTo>
                <a:cubicBezTo>
                  <a:pt x="301376" y="235277"/>
                  <a:pt x="304476" y="238377"/>
                  <a:pt x="304476" y="242197"/>
                </a:cubicBezTo>
                <a:cubicBezTo>
                  <a:pt x="304476" y="246017"/>
                  <a:pt x="301376" y="249117"/>
                  <a:pt x="297556" y="249117"/>
                </a:cubicBezTo>
                <a:lnTo>
                  <a:pt x="276797" y="249117"/>
                </a:lnTo>
                <a:lnTo>
                  <a:pt x="276797" y="256037"/>
                </a:lnTo>
                <a:cubicBezTo>
                  <a:pt x="276797" y="259856"/>
                  <a:pt x="273696" y="262957"/>
                  <a:pt x="269877" y="262957"/>
                </a:cubicBezTo>
                <a:cubicBezTo>
                  <a:pt x="266057" y="262957"/>
                  <a:pt x="262957" y="259856"/>
                  <a:pt x="262957" y="256037"/>
                </a:cubicBezTo>
                <a:lnTo>
                  <a:pt x="262957" y="249117"/>
                </a:lnTo>
                <a:lnTo>
                  <a:pt x="242197" y="249117"/>
                </a:lnTo>
                <a:cubicBezTo>
                  <a:pt x="238377" y="249117"/>
                  <a:pt x="235277" y="246017"/>
                  <a:pt x="235277" y="242197"/>
                </a:cubicBezTo>
                <a:cubicBezTo>
                  <a:pt x="235277" y="238377"/>
                  <a:pt x="238377" y="235277"/>
                  <a:pt x="242197" y="235277"/>
                </a:cubicBezTo>
                <a:lnTo>
                  <a:pt x="262957" y="235277"/>
                </a:lnTo>
                <a:lnTo>
                  <a:pt x="262957" y="220164"/>
                </a:lnTo>
                <a:cubicBezTo>
                  <a:pt x="257089" y="218074"/>
                  <a:pt x="252480" y="213465"/>
                  <a:pt x="250390" y="207597"/>
                </a:cubicBezTo>
                <a:lnTo>
                  <a:pt x="249117" y="207597"/>
                </a:lnTo>
                <a:cubicBezTo>
                  <a:pt x="241505" y="207597"/>
                  <a:pt x="235277" y="201369"/>
                  <a:pt x="235277" y="193757"/>
                </a:cubicBezTo>
                <a:lnTo>
                  <a:pt x="235277" y="152238"/>
                </a:lnTo>
                <a:cubicBezTo>
                  <a:pt x="235277" y="144626"/>
                  <a:pt x="241505" y="138398"/>
                  <a:pt x="249117" y="138398"/>
                </a:cubicBezTo>
                <a:close/>
                <a:moveTo>
                  <a:pt x="27679" y="138398"/>
                </a:moveTo>
                <a:lnTo>
                  <a:pt x="48439" y="138398"/>
                </a:lnTo>
                <a:lnTo>
                  <a:pt x="69198" y="138398"/>
                </a:lnTo>
                <a:cubicBezTo>
                  <a:pt x="76810" y="138398"/>
                  <a:pt x="83038" y="144626"/>
                  <a:pt x="83038" y="152238"/>
                </a:cubicBezTo>
                <a:lnTo>
                  <a:pt x="83038" y="193757"/>
                </a:lnTo>
                <a:cubicBezTo>
                  <a:pt x="83038" y="201369"/>
                  <a:pt x="76810" y="207597"/>
                  <a:pt x="69198" y="207597"/>
                </a:cubicBezTo>
                <a:lnTo>
                  <a:pt x="67925" y="207597"/>
                </a:lnTo>
                <a:cubicBezTo>
                  <a:pt x="65835" y="213465"/>
                  <a:pt x="61227" y="218074"/>
                  <a:pt x="55359" y="220164"/>
                </a:cubicBezTo>
                <a:lnTo>
                  <a:pt x="55359" y="235277"/>
                </a:lnTo>
                <a:lnTo>
                  <a:pt x="76118" y="235277"/>
                </a:lnTo>
                <a:cubicBezTo>
                  <a:pt x="79938" y="235277"/>
                  <a:pt x="83038" y="238377"/>
                  <a:pt x="83038" y="242197"/>
                </a:cubicBezTo>
                <a:cubicBezTo>
                  <a:pt x="83038" y="246017"/>
                  <a:pt x="79938" y="249117"/>
                  <a:pt x="76118" y="249117"/>
                </a:cubicBezTo>
                <a:lnTo>
                  <a:pt x="55359" y="249117"/>
                </a:lnTo>
                <a:lnTo>
                  <a:pt x="55359" y="256037"/>
                </a:lnTo>
                <a:cubicBezTo>
                  <a:pt x="55359" y="259856"/>
                  <a:pt x="52258" y="262957"/>
                  <a:pt x="48439" y="262957"/>
                </a:cubicBezTo>
                <a:cubicBezTo>
                  <a:pt x="44619" y="262957"/>
                  <a:pt x="41519" y="259856"/>
                  <a:pt x="41519" y="256037"/>
                </a:cubicBezTo>
                <a:lnTo>
                  <a:pt x="41519" y="249117"/>
                </a:lnTo>
                <a:lnTo>
                  <a:pt x="20759" y="249117"/>
                </a:lnTo>
                <a:cubicBezTo>
                  <a:pt x="16939" y="249117"/>
                  <a:pt x="13839" y="246017"/>
                  <a:pt x="13839" y="242197"/>
                </a:cubicBezTo>
                <a:cubicBezTo>
                  <a:pt x="13839" y="238377"/>
                  <a:pt x="16939" y="235277"/>
                  <a:pt x="20759" y="235277"/>
                </a:cubicBezTo>
                <a:lnTo>
                  <a:pt x="41519" y="235277"/>
                </a:lnTo>
                <a:lnTo>
                  <a:pt x="41519" y="220164"/>
                </a:lnTo>
                <a:cubicBezTo>
                  <a:pt x="35651" y="218088"/>
                  <a:pt x="31042" y="213465"/>
                  <a:pt x="28952" y="207597"/>
                </a:cubicBezTo>
                <a:lnTo>
                  <a:pt x="27679" y="207597"/>
                </a:lnTo>
                <a:cubicBezTo>
                  <a:pt x="20067" y="207597"/>
                  <a:pt x="13839" y="201369"/>
                  <a:pt x="13839" y="193757"/>
                </a:cubicBezTo>
                <a:lnTo>
                  <a:pt x="13839" y="152238"/>
                </a:lnTo>
                <a:cubicBezTo>
                  <a:pt x="13839" y="144626"/>
                  <a:pt x="20067" y="138398"/>
                  <a:pt x="27679" y="138398"/>
                </a:cubicBezTo>
                <a:close/>
                <a:moveTo>
                  <a:pt x="138398" y="110719"/>
                </a:moveTo>
                <a:lnTo>
                  <a:pt x="159158" y="110719"/>
                </a:lnTo>
                <a:lnTo>
                  <a:pt x="179917" y="110719"/>
                </a:lnTo>
                <a:cubicBezTo>
                  <a:pt x="187529" y="110719"/>
                  <a:pt x="193757" y="116947"/>
                  <a:pt x="193757" y="124559"/>
                </a:cubicBezTo>
                <a:lnTo>
                  <a:pt x="193757" y="166078"/>
                </a:lnTo>
                <a:cubicBezTo>
                  <a:pt x="193757" y="173690"/>
                  <a:pt x="187529" y="179918"/>
                  <a:pt x="179917" y="179918"/>
                </a:cubicBezTo>
                <a:lnTo>
                  <a:pt x="178644" y="179918"/>
                </a:lnTo>
                <a:cubicBezTo>
                  <a:pt x="176554" y="185786"/>
                  <a:pt x="171946" y="190409"/>
                  <a:pt x="166078" y="192485"/>
                </a:cubicBezTo>
                <a:lnTo>
                  <a:pt x="166078" y="207598"/>
                </a:lnTo>
                <a:lnTo>
                  <a:pt x="186837" y="207598"/>
                </a:lnTo>
                <a:cubicBezTo>
                  <a:pt x="190657" y="207598"/>
                  <a:pt x="193757" y="210698"/>
                  <a:pt x="193757" y="214518"/>
                </a:cubicBezTo>
                <a:cubicBezTo>
                  <a:pt x="193757" y="218338"/>
                  <a:pt x="190657" y="221438"/>
                  <a:pt x="186837" y="221438"/>
                </a:cubicBezTo>
                <a:lnTo>
                  <a:pt x="166078" y="221438"/>
                </a:lnTo>
                <a:lnTo>
                  <a:pt x="166078" y="228358"/>
                </a:lnTo>
                <a:cubicBezTo>
                  <a:pt x="166078" y="232177"/>
                  <a:pt x="162977" y="235278"/>
                  <a:pt x="159158" y="235278"/>
                </a:cubicBezTo>
                <a:cubicBezTo>
                  <a:pt x="155338" y="235278"/>
                  <a:pt x="152238" y="232177"/>
                  <a:pt x="152238" y="228358"/>
                </a:cubicBezTo>
                <a:lnTo>
                  <a:pt x="152238" y="221438"/>
                </a:lnTo>
                <a:lnTo>
                  <a:pt x="131478" y="221438"/>
                </a:lnTo>
                <a:cubicBezTo>
                  <a:pt x="127658" y="221438"/>
                  <a:pt x="124558" y="218338"/>
                  <a:pt x="124558" y="214518"/>
                </a:cubicBezTo>
                <a:cubicBezTo>
                  <a:pt x="124558" y="210698"/>
                  <a:pt x="127658" y="207598"/>
                  <a:pt x="131478" y="207598"/>
                </a:cubicBezTo>
                <a:lnTo>
                  <a:pt x="152238" y="207598"/>
                </a:lnTo>
                <a:lnTo>
                  <a:pt x="152238" y="192485"/>
                </a:lnTo>
                <a:cubicBezTo>
                  <a:pt x="146370" y="190395"/>
                  <a:pt x="141761" y="185786"/>
                  <a:pt x="139671" y="179918"/>
                </a:cubicBezTo>
                <a:lnTo>
                  <a:pt x="138398" y="179918"/>
                </a:lnTo>
                <a:cubicBezTo>
                  <a:pt x="130786" y="179918"/>
                  <a:pt x="124558" y="173690"/>
                  <a:pt x="124558" y="166078"/>
                </a:cubicBezTo>
                <a:lnTo>
                  <a:pt x="124558" y="124559"/>
                </a:lnTo>
                <a:cubicBezTo>
                  <a:pt x="124558" y="116947"/>
                  <a:pt x="130786" y="110719"/>
                  <a:pt x="138398" y="110719"/>
                </a:cubicBezTo>
                <a:close/>
                <a:moveTo>
                  <a:pt x="269877" y="83039"/>
                </a:moveTo>
                <a:cubicBezTo>
                  <a:pt x="281342" y="83039"/>
                  <a:pt x="290637" y="92333"/>
                  <a:pt x="290637" y="103799"/>
                </a:cubicBezTo>
                <a:cubicBezTo>
                  <a:pt x="290637" y="115264"/>
                  <a:pt x="281342" y="124559"/>
                  <a:pt x="269877" y="124559"/>
                </a:cubicBezTo>
                <a:cubicBezTo>
                  <a:pt x="258411" y="124559"/>
                  <a:pt x="249117" y="115264"/>
                  <a:pt x="249117" y="103799"/>
                </a:cubicBezTo>
                <a:cubicBezTo>
                  <a:pt x="249117" y="92333"/>
                  <a:pt x="258411" y="83039"/>
                  <a:pt x="269877" y="83039"/>
                </a:cubicBezTo>
                <a:close/>
                <a:moveTo>
                  <a:pt x="48439" y="83039"/>
                </a:moveTo>
                <a:cubicBezTo>
                  <a:pt x="59904" y="83039"/>
                  <a:pt x="69199" y="92333"/>
                  <a:pt x="69199" y="103799"/>
                </a:cubicBezTo>
                <a:cubicBezTo>
                  <a:pt x="69199" y="115264"/>
                  <a:pt x="59904" y="124559"/>
                  <a:pt x="48439" y="124559"/>
                </a:cubicBezTo>
                <a:cubicBezTo>
                  <a:pt x="36973" y="124559"/>
                  <a:pt x="27679" y="115264"/>
                  <a:pt x="27679" y="103799"/>
                </a:cubicBezTo>
                <a:cubicBezTo>
                  <a:pt x="27679" y="92333"/>
                  <a:pt x="36973" y="83039"/>
                  <a:pt x="48439" y="83039"/>
                </a:cubicBezTo>
                <a:close/>
                <a:moveTo>
                  <a:pt x="159158" y="55359"/>
                </a:moveTo>
                <a:cubicBezTo>
                  <a:pt x="170623" y="55359"/>
                  <a:pt x="179918" y="64653"/>
                  <a:pt x="179918" y="76119"/>
                </a:cubicBezTo>
                <a:cubicBezTo>
                  <a:pt x="179918" y="87584"/>
                  <a:pt x="170623" y="96879"/>
                  <a:pt x="159158" y="96879"/>
                </a:cubicBezTo>
                <a:cubicBezTo>
                  <a:pt x="147692" y="96879"/>
                  <a:pt x="138398" y="87584"/>
                  <a:pt x="138398" y="76119"/>
                </a:cubicBezTo>
                <a:cubicBezTo>
                  <a:pt x="138398" y="64653"/>
                  <a:pt x="147692" y="55359"/>
                  <a:pt x="159158" y="55359"/>
                </a:cubicBezTo>
                <a:close/>
                <a:moveTo>
                  <a:pt x="238910" y="5883"/>
                </a:moveTo>
                <a:cubicBezTo>
                  <a:pt x="241152" y="4498"/>
                  <a:pt x="244246" y="4491"/>
                  <a:pt x="247650" y="6200"/>
                </a:cubicBezTo>
                <a:lnTo>
                  <a:pt x="305929" y="35333"/>
                </a:lnTo>
                <a:cubicBezTo>
                  <a:pt x="312752" y="38737"/>
                  <a:pt x="318316" y="47747"/>
                  <a:pt x="318316" y="55359"/>
                </a:cubicBezTo>
                <a:lnTo>
                  <a:pt x="318316" y="124558"/>
                </a:lnTo>
                <a:cubicBezTo>
                  <a:pt x="318316" y="132170"/>
                  <a:pt x="312752" y="135616"/>
                  <a:pt x="305943" y="132211"/>
                </a:cubicBezTo>
                <a:lnTo>
                  <a:pt x="295425" y="126952"/>
                </a:lnTo>
                <a:cubicBezTo>
                  <a:pt x="300989" y="120807"/>
                  <a:pt x="304476" y="112739"/>
                  <a:pt x="304476" y="103798"/>
                </a:cubicBezTo>
                <a:cubicBezTo>
                  <a:pt x="304476" y="84686"/>
                  <a:pt x="288989" y="69199"/>
                  <a:pt x="269877" y="69199"/>
                </a:cubicBezTo>
                <a:cubicBezTo>
                  <a:pt x="255040" y="69199"/>
                  <a:pt x="242488" y="78596"/>
                  <a:pt x="237561" y="91716"/>
                </a:cubicBezTo>
                <a:cubicBezTo>
                  <a:pt x="236232" y="88851"/>
                  <a:pt x="235277" y="85876"/>
                  <a:pt x="235277" y="83039"/>
                </a:cubicBezTo>
                <a:lnTo>
                  <a:pt x="235277" y="13839"/>
                </a:lnTo>
                <a:cubicBezTo>
                  <a:pt x="235277" y="10033"/>
                  <a:pt x="236668" y="7269"/>
                  <a:pt x="238910" y="5883"/>
                </a:cubicBezTo>
                <a:close/>
                <a:moveTo>
                  <a:pt x="79404" y="5882"/>
                </a:moveTo>
                <a:cubicBezTo>
                  <a:pt x="81648" y="7270"/>
                  <a:pt x="83039" y="10034"/>
                  <a:pt x="83039" y="13840"/>
                </a:cubicBezTo>
                <a:lnTo>
                  <a:pt x="83039" y="83039"/>
                </a:lnTo>
                <a:cubicBezTo>
                  <a:pt x="83039" y="85876"/>
                  <a:pt x="82084" y="88852"/>
                  <a:pt x="80755" y="91717"/>
                </a:cubicBezTo>
                <a:cubicBezTo>
                  <a:pt x="75842" y="78597"/>
                  <a:pt x="63290" y="69199"/>
                  <a:pt x="48439" y="69199"/>
                </a:cubicBezTo>
                <a:cubicBezTo>
                  <a:pt x="29327" y="69199"/>
                  <a:pt x="13840" y="84686"/>
                  <a:pt x="13840" y="103799"/>
                </a:cubicBezTo>
                <a:cubicBezTo>
                  <a:pt x="13840" y="112739"/>
                  <a:pt x="17327" y="120808"/>
                  <a:pt x="22891" y="126953"/>
                </a:cubicBezTo>
                <a:lnTo>
                  <a:pt x="12387" y="132212"/>
                </a:lnTo>
                <a:cubicBezTo>
                  <a:pt x="5564" y="135617"/>
                  <a:pt x="0" y="132171"/>
                  <a:pt x="0" y="124559"/>
                </a:cubicBezTo>
                <a:lnTo>
                  <a:pt x="0" y="55359"/>
                </a:lnTo>
                <a:cubicBezTo>
                  <a:pt x="0" y="47748"/>
                  <a:pt x="5564" y="38738"/>
                  <a:pt x="12387" y="35333"/>
                </a:cubicBezTo>
                <a:lnTo>
                  <a:pt x="70652" y="6187"/>
                </a:lnTo>
                <a:cubicBezTo>
                  <a:pt x="74063" y="4485"/>
                  <a:pt x="77160" y="4495"/>
                  <a:pt x="79404" y="5882"/>
                </a:cubicBezTo>
                <a:close/>
                <a:moveTo>
                  <a:pt x="110718" y="0"/>
                </a:moveTo>
                <a:lnTo>
                  <a:pt x="207597" y="0"/>
                </a:lnTo>
                <a:cubicBezTo>
                  <a:pt x="215209" y="0"/>
                  <a:pt x="221437" y="6228"/>
                  <a:pt x="221437" y="13840"/>
                </a:cubicBezTo>
                <a:lnTo>
                  <a:pt x="221437" y="83039"/>
                </a:lnTo>
                <a:cubicBezTo>
                  <a:pt x="221437" y="90651"/>
                  <a:pt x="215209" y="96879"/>
                  <a:pt x="207597" y="96879"/>
                </a:cubicBezTo>
                <a:lnTo>
                  <a:pt x="186671" y="96879"/>
                </a:lnTo>
                <a:cubicBezTo>
                  <a:pt x="191072" y="91080"/>
                  <a:pt x="193757" y="83939"/>
                  <a:pt x="193757" y="76119"/>
                </a:cubicBezTo>
                <a:cubicBezTo>
                  <a:pt x="193757" y="57006"/>
                  <a:pt x="178270" y="41520"/>
                  <a:pt x="159157" y="41520"/>
                </a:cubicBezTo>
                <a:cubicBezTo>
                  <a:pt x="140044" y="41520"/>
                  <a:pt x="124558" y="57006"/>
                  <a:pt x="124558" y="76119"/>
                </a:cubicBezTo>
                <a:cubicBezTo>
                  <a:pt x="124558" y="83939"/>
                  <a:pt x="127256" y="91080"/>
                  <a:pt x="131630" y="96879"/>
                </a:cubicBezTo>
                <a:lnTo>
                  <a:pt x="110718" y="96879"/>
                </a:lnTo>
                <a:cubicBezTo>
                  <a:pt x="103106" y="96879"/>
                  <a:pt x="96878" y="90651"/>
                  <a:pt x="96878" y="83039"/>
                </a:cubicBezTo>
                <a:lnTo>
                  <a:pt x="96878" y="13840"/>
                </a:lnTo>
                <a:cubicBezTo>
                  <a:pt x="96878" y="6228"/>
                  <a:pt x="103106" y="0"/>
                  <a:pt x="110718" y="0"/>
                </a:cubicBezTo>
                <a:close/>
              </a:path>
            </a:pathLst>
          </a:custGeom>
          <a:solidFill>
            <a:schemeClr val="bg1"/>
          </a:solidFill>
          <a:ln w="1349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62" name="Group 61">
            <a:extLst>
              <a:ext uri="{FF2B5EF4-FFF2-40B4-BE49-F238E27FC236}">
                <a16:creationId xmlns:a16="http://schemas.microsoft.com/office/drawing/2014/main" id="{117DDC25-81AF-9A9A-52CD-4F5846DFD255}"/>
              </a:ext>
            </a:extLst>
          </p:cNvPr>
          <p:cNvGrpSpPr/>
          <p:nvPr/>
        </p:nvGrpSpPr>
        <p:grpSpPr>
          <a:xfrm>
            <a:off x="520567" y="3030234"/>
            <a:ext cx="250024" cy="249727"/>
            <a:chOff x="6303341" y="3143599"/>
            <a:chExt cx="325893" cy="325508"/>
          </a:xfrm>
        </p:grpSpPr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133E462F-A12B-6438-F2C7-DF542F2263B1}"/>
                </a:ext>
              </a:extLst>
            </p:cNvPr>
            <p:cNvSpPr/>
            <p:nvPr/>
          </p:nvSpPr>
          <p:spPr>
            <a:xfrm flipV="1">
              <a:off x="6303341" y="3346327"/>
              <a:ext cx="122780" cy="122780"/>
            </a:xfrm>
            <a:custGeom>
              <a:avLst/>
              <a:gdLst>
                <a:gd name="connsiteX0" fmla="*/ 32 w 122780"/>
                <a:gd name="connsiteY0" fmla="*/ 30389 h 122780"/>
                <a:gd name="connsiteX1" fmla="*/ 32 w 122780"/>
                <a:gd name="connsiteY1" fmla="*/ 30258 h 122780"/>
                <a:gd name="connsiteX2" fmla="*/ 29786 w 122780"/>
                <a:gd name="connsiteY2" fmla="*/ 504 h 122780"/>
                <a:gd name="connsiteX3" fmla="*/ 29917 w 122780"/>
                <a:gd name="connsiteY3" fmla="*/ 504 h 122780"/>
                <a:gd name="connsiteX4" fmla="*/ 122812 w 122780"/>
                <a:gd name="connsiteY4" fmla="*/ 93400 h 122780"/>
                <a:gd name="connsiteX5" fmla="*/ 92928 w 122780"/>
                <a:gd name="connsiteY5" fmla="*/ 123284 h 1227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2780" h="122780">
                  <a:moveTo>
                    <a:pt x="32" y="30389"/>
                  </a:moveTo>
                  <a:lnTo>
                    <a:pt x="32" y="30258"/>
                  </a:lnTo>
                  <a:lnTo>
                    <a:pt x="29786" y="504"/>
                  </a:lnTo>
                  <a:lnTo>
                    <a:pt x="29917" y="504"/>
                  </a:lnTo>
                  <a:lnTo>
                    <a:pt x="122812" y="93400"/>
                  </a:lnTo>
                  <a:lnTo>
                    <a:pt x="92928" y="123284"/>
                  </a:lnTo>
                  <a:close/>
                </a:path>
              </a:pathLst>
            </a:custGeom>
            <a:solidFill>
              <a:schemeClr val="bg1"/>
            </a:solidFill>
            <a:ln w="63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337F73DD-A685-A4AA-405F-6A52408F03C5}"/>
                </a:ext>
              </a:extLst>
            </p:cNvPr>
            <p:cNvSpPr/>
            <p:nvPr/>
          </p:nvSpPr>
          <p:spPr>
            <a:xfrm flipV="1">
              <a:off x="6382407" y="3332497"/>
              <a:ext cx="57542" cy="57542"/>
            </a:xfrm>
            <a:custGeom>
              <a:avLst/>
              <a:gdLst>
                <a:gd name="connsiteX0" fmla="*/ 181 w 57542"/>
                <a:gd name="connsiteY0" fmla="*/ 58045 h 57542"/>
                <a:gd name="connsiteX1" fmla="*/ 57724 w 57542"/>
                <a:gd name="connsiteY1" fmla="*/ 502 h 575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7542" h="57542">
                  <a:moveTo>
                    <a:pt x="181" y="58045"/>
                  </a:moveTo>
                  <a:lnTo>
                    <a:pt x="57724" y="502"/>
                  </a:lnTo>
                </a:path>
              </a:pathLst>
            </a:custGeom>
            <a:solidFill>
              <a:schemeClr val="tx2"/>
            </a:solidFill>
            <a:ln w="1896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31BE508-ABB2-6337-1860-707D9AAF041D}"/>
                </a:ext>
              </a:extLst>
            </p:cNvPr>
            <p:cNvSpPr/>
            <p:nvPr/>
          </p:nvSpPr>
          <p:spPr>
            <a:xfrm flipV="1">
              <a:off x="6411179" y="3333151"/>
              <a:ext cx="28117" cy="28117"/>
            </a:xfrm>
            <a:custGeom>
              <a:avLst/>
              <a:gdLst>
                <a:gd name="connsiteX0" fmla="*/ 28395 w 28117"/>
                <a:gd name="connsiteY0" fmla="*/ 28566 h 28117"/>
                <a:gd name="connsiteX1" fmla="*/ 278 w 28117"/>
                <a:gd name="connsiteY1" fmla="*/ 449 h 281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8117" h="28117">
                  <a:moveTo>
                    <a:pt x="28395" y="28566"/>
                  </a:moveTo>
                  <a:lnTo>
                    <a:pt x="278" y="449"/>
                  </a:lnTo>
                </a:path>
              </a:pathLst>
            </a:custGeom>
            <a:solidFill>
              <a:schemeClr val="tx2"/>
            </a:solidFill>
            <a:ln w="18967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6980BBE0-D624-DEDC-907A-E0A6765F9373}"/>
                </a:ext>
              </a:extLst>
            </p:cNvPr>
            <p:cNvSpPr/>
            <p:nvPr/>
          </p:nvSpPr>
          <p:spPr>
            <a:xfrm flipV="1">
              <a:off x="6403863" y="3143599"/>
              <a:ext cx="225371" cy="225371"/>
            </a:xfrm>
            <a:custGeom>
              <a:avLst/>
              <a:gdLst>
                <a:gd name="connsiteX0" fmla="*/ 155522 w 225371"/>
                <a:gd name="connsiteY0" fmla="*/ 169577 h 225371"/>
                <a:gd name="connsiteX1" fmla="*/ 99148 w 225371"/>
                <a:gd name="connsiteY1" fmla="*/ 113201 h 225371"/>
                <a:gd name="connsiteX2" fmla="*/ 69453 w 225371"/>
                <a:gd name="connsiteY2" fmla="*/ 142897 h 225371"/>
                <a:gd name="connsiteX3" fmla="*/ 40658 w 225371"/>
                <a:gd name="connsiteY3" fmla="*/ 114101 h 225371"/>
                <a:gd name="connsiteX4" fmla="*/ 99148 w 225371"/>
                <a:gd name="connsiteY4" fmla="*/ 55611 h 225371"/>
                <a:gd name="connsiteX5" fmla="*/ 184318 w 225371"/>
                <a:gd name="connsiteY5" fmla="*/ 140781 h 225371"/>
                <a:gd name="connsiteX6" fmla="*/ 112685 w 225371"/>
                <a:gd name="connsiteY6" fmla="*/ 225371 h 225371"/>
                <a:gd name="connsiteX7" fmla="*/ 225371 w 225371"/>
                <a:gd name="connsiteY7" fmla="*/ 112685 h 225371"/>
                <a:gd name="connsiteX8" fmla="*/ 112685 w 225371"/>
                <a:gd name="connsiteY8" fmla="*/ 0 h 225371"/>
                <a:gd name="connsiteX9" fmla="*/ 0 w 225371"/>
                <a:gd name="connsiteY9" fmla="*/ 112685 h 225371"/>
                <a:gd name="connsiteX10" fmla="*/ 112685 w 225371"/>
                <a:gd name="connsiteY10" fmla="*/ 225371 h 2253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25371" h="225371">
                  <a:moveTo>
                    <a:pt x="155522" y="169577"/>
                  </a:moveTo>
                  <a:lnTo>
                    <a:pt x="99148" y="113201"/>
                  </a:lnTo>
                  <a:lnTo>
                    <a:pt x="69453" y="142897"/>
                  </a:lnTo>
                  <a:lnTo>
                    <a:pt x="40658" y="114101"/>
                  </a:lnTo>
                  <a:lnTo>
                    <a:pt x="99148" y="55611"/>
                  </a:lnTo>
                  <a:lnTo>
                    <a:pt x="184318" y="140781"/>
                  </a:lnTo>
                  <a:close/>
                  <a:moveTo>
                    <a:pt x="112685" y="225371"/>
                  </a:moveTo>
                  <a:cubicBezTo>
                    <a:pt x="174920" y="225371"/>
                    <a:pt x="225371" y="174920"/>
                    <a:pt x="225371" y="112685"/>
                  </a:cubicBezTo>
                  <a:cubicBezTo>
                    <a:pt x="225371" y="50451"/>
                    <a:pt x="174920" y="0"/>
                    <a:pt x="112685" y="0"/>
                  </a:cubicBezTo>
                  <a:cubicBezTo>
                    <a:pt x="50451" y="0"/>
                    <a:pt x="0" y="50451"/>
                    <a:pt x="0" y="112685"/>
                  </a:cubicBezTo>
                  <a:cubicBezTo>
                    <a:pt x="0" y="174920"/>
                    <a:pt x="50451" y="225371"/>
                    <a:pt x="112685" y="225371"/>
                  </a:cubicBezTo>
                  <a:close/>
                </a:path>
              </a:pathLst>
            </a:custGeom>
            <a:solidFill>
              <a:schemeClr val="bg1"/>
            </a:solidFill>
            <a:ln w="632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pic>
        <p:nvPicPr>
          <p:cNvPr id="67" name="Graphic 66">
            <a:extLst>
              <a:ext uri="{FF2B5EF4-FFF2-40B4-BE49-F238E27FC236}">
                <a16:creationId xmlns:a16="http://schemas.microsoft.com/office/drawing/2014/main" id="{97ACC6EC-A56C-5A4F-7296-BF6721B60D2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3357153" y="3677689"/>
            <a:ext cx="293450" cy="293450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0511A2A6-A099-F9D3-1FD1-E03978D0F2F5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3362299" y="1666110"/>
            <a:ext cx="283156" cy="283156"/>
          </a:xfrm>
          <a:prstGeom prst="rect">
            <a:avLst/>
          </a:prstGeom>
        </p:spPr>
      </p:pic>
      <p:pic>
        <p:nvPicPr>
          <p:cNvPr id="69" name="Graphic 68">
            <a:extLst>
              <a:ext uri="{FF2B5EF4-FFF2-40B4-BE49-F238E27FC236}">
                <a16:creationId xmlns:a16="http://schemas.microsoft.com/office/drawing/2014/main" id="{B1340218-DE7A-4D8D-E08F-2C6F1BBF6339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05654" y="4372109"/>
            <a:ext cx="279224" cy="279224"/>
          </a:xfrm>
          <a:prstGeom prst="rect">
            <a:avLst/>
          </a:prstGeom>
        </p:spPr>
      </p:pic>
      <p:pic>
        <p:nvPicPr>
          <p:cNvPr id="70" name="Graphic 69">
            <a:extLst>
              <a:ext uri="{FF2B5EF4-FFF2-40B4-BE49-F238E27FC236}">
                <a16:creationId xmlns:a16="http://schemas.microsoft.com/office/drawing/2014/main" id="{34E1F5B3-4AF0-8E63-C65B-239D140472FD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3366964" y="5640499"/>
            <a:ext cx="273826" cy="273826"/>
          </a:xfrm>
          <a:prstGeom prst="rect">
            <a:avLst/>
          </a:prstGeom>
        </p:spPr>
      </p:pic>
      <p:pic>
        <p:nvPicPr>
          <p:cNvPr id="71" name="Graphic 70">
            <a:extLst>
              <a:ext uri="{FF2B5EF4-FFF2-40B4-BE49-F238E27FC236}">
                <a16:creationId xmlns:a16="http://schemas.microsoft.com/office/drawing/2014/main" id="{486F8782-E257-FAC3-D7A7-E046E768C6F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500083" y="5016214"/>
            <a:ext cx="290366" cy="290366"/>
          </a:xfrm>
          <a:prstGeom prst="rect">
            <a:avLst/>
          </a:prstGeom>
        </p:spPr>
      </p:pic>
      <p:pic>
        <p:nvPicPr>
          <p:cNvPr id="72" name="Graphic 71">
            <a:extLst>
              <a:ext uri="{FF2B5EF4-FFF2-40B4-BE49-F238E27FC236}">
                <a16:creationId xmlns:a16="http://schemas.microsoft.com/office/drawing/2014/main" id="{7FD42941-1074-D535-8117-49969A7EFB2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340373" y="4945182"/>
            <a:ext cx="327008" cy="327008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6FA171E3-ADF6-3011-8BA0-4C9847F818F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 flipH="1">
            <a:off x="3350673" y="3017374"/>
            <a:ext cx="269688" cy="269688"/>
          </a:xfrm>
          <a:prstGeom prst="rect">
            <a:avLst/>
          </a:prstGeom>
        </p:spPr>
      </p:pic>
      <p:pic>
        <p:nvPicPr>
          <p:cNvPr id="74" name="Graphic 73">
            <a:extLst>
              <a:ext uri="{FF2B5EF4-FFF2-40B4-BE49-F238E27FC236}">
                <a16:creationId xmlns:a16="http://schemas.microsoft.com/office/drawing/2014/main" id="{0D2C3B1A-2527-A0CE-E9A7-3ABB86A93B54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3365501" y="4297119"/>
            <a:ext cx="276754" cy="276754"/>
          </a:xfrm>
          <a:prstGeom prst="rect">
            <a:avLst/>
          </a:prstGeom>
        </p:spPr>
      </p:pic>
      <p:pic>
        <p:nvPicPr>
          <p:cNvPr id="75" name="Graphic 74">
            <a:extLst>
              <a:ext uri="{FF2B5EF4-FFF2-40B4-BE49-F238E27FC236}">
                <a16:creationId xmlns:a16="http://schemas.microsoft.com/office/drawing/2014/main" id="{3C3CEEB7-E44B-8A74-B524-385071CF82E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321450" y="3033254"/>
            <a:ext cx="244866" cy="244866"/>
          </a:xfrm>
          <a:prstGeom prst="rect">
            <a:avLst/>
          </a:prstGeom>
        </p:spPr>
      </p:pic>
      <p:pic>
        <p:nvPicPr>
          <p:cNvPr id="76" name="Graphic 75">
            <a:extLst>
              <a:ext uri="{FF2B5EF4-FFF2-40B4-BE49-F238E27FC236}">
                <a16:creationId xmlns:a16="http://schemas.microsoft.com/office/drawing/2014/main" id="{003CC6B0-88FB-EA91-9D12-1FCFF8CC1127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607951" y="3033254"/>
            <a:ext cx="244866" cy="244866"/>
          </a:xfrm>
          <a:prstGeom prst="rect">
            <a:avLst/>
          </a:prstGeom>
        </p:spPr>
      </p:pic>
      <p:pic>
        <p:nvPicPr>
          <p:cNvPr id="77" name="Picture 76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D7D319CC-A128-37ED-BBC1-A527140375FC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alphaModFix amt="40000"/>
          </a:blip>
          <a:srcRect t="51505"/>
          <a:stretch/>
        </p:blipFill>
        <p:spPr>
          <a:xfrm flipH="1">
            <a:off x="6965630" y="1870123"/>
            <a:ext cx="4246887" cy="366937"/>
          </a:xfrm>
          <a:prstGeom prst="rect">
            <a:avLst/>
          </a:prstGeom>
        </p:spPr>
      </p:pic>
      <p:pic>
        <p:nvPicPr>
          <p:cNvPr id="78" name="Picture 77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5EC4BDEC-31C5-46FE-19D3-3F6C7E96153A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alphaModFix amt="40000"/>
          </a:blip>
          <a:srcRect t="51505"/>
          <a:stretch/>
        </p:blipFill>
        <p:spPr>
          <a:xfrm flipH="1">
            <a:off x="6829635" y="2265362"/>
            <a:ext cx="4246887" cy="366937"/>
          </a:xfrm>
          <a:prstGeom prst="rect">
            <a:avLst/>
          </a:prstGeom>
        </p:spPr>
      </p:pic>
      <p:sp>
        <p:nvSpPr>
          <p:cNvPr id="79" name="TextBox 78">
            <a:extLst>
              <a:ext uri="{FF2B5EF4-FFF2-40B4-BE49-F238E27FC236}">
                <a16:creationId xmlns:a16="http://schemas.microsoft.com/office/drawing/2014/main" id="{69AAC393-412D-869F-B194-47616F130557}"/>
              </a:ext>
            </a:extLst>
          </p:cNvPr>
          <p:cNvSpPr txBox="1"/>
          <p:nvPr/>
        </p:nvSpPr>
        <p:spPr>
          <a:xfrm>
            <a:off x="7076092" y="2721277"/>
            <a:ext cx="4354339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50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artnerships</a:t>
            </a:r>
          </a:p>
        </p:txBody>
      </p:sp>
      <p:sp>
        <p:nvSpPr>
          <p:cNvPr id="80" name="object 97">
            <a:extLst>
              <a:ext uri="{FF2B5EF4-FFF2-40B4-BE49-F238E27FC236}">
                <a16:creationId xmlns:a16="http://schemas.microsoft.com/office/drawing/2014/main" id="{59A74F61-96F2-398B-A9A7-3648363EECAF}"/>
              </a:ext>
            </a:extLst>
          </p:cNvPr>
          <p:cNvSpPr txBox="1"/>
          <p:nvPr/>
        </p:nvSpPr>
        <p:spPr>
          <a:xfrm>
            <a:off x="6165048" y="1470014"/>
            <a:ext cx="6176428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8382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250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perations experts in digital rollouts</a:t>
            </a:r>
          </a:p>
        </p:txBody>
      </p:sp>
      <p:sp>
        <p:nvSpPr>
          <p:cNvPr id="81" name="object 97">
            <a:extLst>
              <a:ext uri="{FF2B5EF4-FFF2-40B4-BE49-F238E27FC236}">
                <a16:creationId xmlns:a16="http://schemas.microsoft.com/office/drawing/2014/main" id="{C7383A88-DC17-53F7-C115-853DEBFFE293}"/>
              </a:ext>
            </a:extLst>
          </p:cNvPr>
          <p:cNvSpPr txBox="1"/>
          <p:nvPr/>
        </p:nvSpPr>
        <p:spPr>
          <a:xfrm>
            <a:off x="6556945" y="1878005"/>
            <a:ext cx="4536496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60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edicated digital &amp; data experts</a:t>
            </a:r>
          </a:p>
        </p:txBody>
      </p:sp>
      <p:sp>
        <p:nvSpPr>
          <p:cNvPr id="82" name="object 97">
            <a:extLst>
              <a:ext uri="{FF2B5EF4-FFF2-40B4-BE49-F238E27FC236}">
                <a16:creationId xmlns:a16="http://schemas.microsoft.com/office/drawing/2014/main" id="{734618AB-E385-BC89-3560-9CE00EE40F10}"/>
              </a:ext>
            </a:extLst>
          </p:cNvPr>
          <p:cNvSpPr txBox="1"/>
          <p:nvPr/>
        </p:nvSpPr>
        <p:spPr>
          <a:xfrm>
            <a:off x="6808589" y="2284261"/>
            <a:ext cx="3535256" cy="430887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&gt; 15 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 implementations</a:t>
            </a:r>
          </a:p>
        </p:txBody>
      </p:sp>
      <p:pic>
        <p:nvPicPr>
          <p:cNvPr id="83" name="Picture 82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4428E21C-49FB-6836-508C-46DC48AA7EF7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alphaModFix amt="40000"/>
          </a:blip>
          <a:srcRect t="51505"/>
          <a:stretch/>
        </p:blipFill>
        <p:spPr>
          <a:xfrm flipH="1">
            <a:off x="6733416" y="2698916"/>
            <a:ext cx="4246887" cy="366937"/>
          </a:xfrm>
          <a:prstGeom prst="rect">
            <a:avLst/>
          </a:prstGeom>
        </p:spPr>
      </p:pic>
      <p:grpSp>
        <p:nvGrpSpPr>
          <p:cNvPr id="85" name="Group 84">
            <a:extLst>
              <a:ext uri="{FF2B5EF4-FFF2-40B4-BE49-F238E27FC236}">
                <a16:creationId xmlns:a16="http://schemas.microsoft.com/office/drawing/2014/main" id="{B47C7A29-DCA4-B53E-8026-3BEF76B7BA50}"/>
              </a:ext>
            </a:extLst>
          </p:cNvPr>
          <p:cNvGrpSpPr/>
          <p:nvPr/>
        </p:nvGrpSpPr>
        <p:grpSpPr>
          <a:xfrm>
            <a:off x="7751581" y="3806383"/>
            <a:ext cx="2701649" cy="2357577"/>
            <a:chOff x="7821050" y="4264538"/>
            <a:chExt cx="2760607" cy="2532852"/>
          </a:xfrm>
        </p:grpSpPr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17A6939A-D212-E804-76DB-F0DF15AD4EE3}"/>
                </a:ext>
              </a:extLst>
            </p:cNvPr>
            <p:cNvSpPr/>
            <p:nvPr/>
          </p:nvSpPr>
          <p:spPr>
            <a:xfrm rot="10800000" flipV="1">
              <a:off x="7821050" y="4266563"/>
              <a:ext cx="1440000" cy="1440000"/>
            </a:xfrm>
            <a:custGeom>
              <a:avLst/>
              <a:gdLst>
                <a:gd name="connsiteX0" fmla="*/ 0 w 1875842"/>
                <a:gd name="connsiteY0" fmla="*/ 937921 h 1875842"/>
                <a:gd name="connsiteX1" fmla="*/ 937921 w 1875842"/>
                <a:gd name="connsiteY1" fmla="*/ 0 h 1875842"/>
                <a:gd name="connsiteX2" fmla="*/ 1875842 w 1875842"/>
                <a:gd name="connsiteY2" fmla="*/ 937921 h 1875842"/>
                <a:gd name="connsiteX3" fmla="*/ 937921 w 1875842"/>
                <a:gd name="connsiteY3" fmla="*/ 1875842 h 1875842"/>
                <a:gd name="connsiteX4" fmla="*/ 0 w 1875842"/>
                <a:gd name="connsiteY4" fmla="*/ 937921 h 1875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5842" h="1875842">
                  <a:moveTo>
                    <a:pt x="0" y="937921"/>
                  </a:moveTo>
                  <a:cubicBezTo>
                    <a:pt x="0" y="419922"/>
                    <a:pt x="419922" y="0"/>
                    <a:pt x="937921" y="0"/>
                  </a:cubicBezTo>
                  <a:cubicBezTo>
                    <a:pt x="1455920" y="0"/>
                    <a:pt x="1875842" y="419922"/>
                    <a:pt x="1875842" y="937921"/>
                  </a:cubicBezTo>
                  <a:cubicBezTo>
                    <a:pt x="1875842" y="1455920"/>
                    <a:pt x="1455920" y="1875842"/>
                    <a:pt x="937921" y="1875842"/>
                  </a:cubicBezTo>
                  <a:cubicBezTo>
                    <a:pt x="419922" y="1875842"/>
                    <a:pt x="0" y="1455920"/>
                    <a:pt x="0" y="937921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95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18900000" scaled="1"/>
            </a:gradFill>
            <a:ln>
              <a:noFill/>
            </a:ln>
            <a:effectLst>
              <a:outerShdw blurRad="254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28000" rtlCol="0" anchor="t">
              <a:noAutofit/>
            </a:bodyPr>
            <a:lstStyle/>
            <a:p>
              <a:pPr marL="0" marR="0" lvl="0" indent="0" algn="ctr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8578AB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Data</a:t>
              </a: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ED987FD4-ECD1-8EA9-47D7-00601F868640}"/>
                </a:ext>
              </a:extLst>
            </p:cNvPr>
            <p:cNvSpPr/>
            <p:nvPr/>
          </p:nvSpPr>
          <p:spPr>
            <a:xfrm rot="10800000" flipV="1">
              <a:off x="9141657" y="4264538"/>
              <a:ext cx="1440000" cy="1440000"/>
            </a:xfrm>
            <a:custGeom>
              <a:avLst/>
              <a:gdLst>
                <a:gd name="connsiteX0" fmla="*/ 0 w 1875842"/>
                <a:gd name="connsiteY0" fmla="*/ 937921 h 1875842"/>
                <a:gd name="connsiteX1" fmla="*/ 937921 w 1875842"/>
                <a:gd name="connsiteY1" fmla="*/ 0 h 1875842"/>
                <a:gd name="connsiteX2" fmla="*/ 1875842 w 1875842"/>
                <a:gd name="connsiteY2" fmla="*/ 937921 h 1875842"/>
                <a:gd name="connsiteX3" fmla="*/ 937921 w 1875842"/>
                <a:gd name="connsiteY3" fmla="*/ 1875842 h 1875842"/>
                <a:gd name="connsiteX4" fmla="*/ 0 w 1875842"/>
                <a:gd name="connsiteY4" fmla="*/ 937921 h 1875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5842" h="1875842">
                  <a:moveTo>
                    <a:pt x="0" y="937921"/>
                  </a:moveTo>
                  <a:cubicBezTo>
                    <a:pt x="0" y="419922"/>
                    <a:pt x="419922" y="0"/>
                    <a:pt x="937921" y="0"/>
                  </a:cubicBezTo>
                  <a:cubicBezTo>
                    <a:pt x="1455920" y="0"/>
                    <a:pt x="1875842" y="419922"/>
                    <a:pt x="1875842" y="937921"/>
                  </a:cubicBezTo>
                  <a:cubicBezTo>
                    <a:pt x="1875842" y="1455920"/>
                    <a:pt x="1455920" y="1875842"/>
                    <a:pt x="937921" y="1875842"/>
                  </a:cubicBezTo>
                  <a:cubicBezTo>
                    <a:pt x="419922" y="1875842"/>
                    <a:pt x="0" y="1455920"/>
                    <a:pt x="0" y="937921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95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18900000" scaled="1"/>
            </a:gradFill>
            <a:ln>
              <a:noFill/>
            </a:ln>
            <a:effectLst>
              <a:outerShdw blurRad="254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28000" rtlCol="0" anchor="t">
              <a:noAutofit/>
            </a:bodyPr>
            <a:lstStyle/>
            <a:p>
              <a:pPr marL="0" marR="0" lvl="0" indent="0" algn="ctr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AC8B8A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People</a:t>
              </a: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6BA4D30D-4D27-351F-FB5D-916BE6666406}"/>
                </a:ext>
              </a:extLst>
            </p:cNvPr>
            <p:cNvSpPr/>
            <p:nvPr/>
          </p:nvSpPr>
          <p:spPr>
            <a:xfrm rot="10800000" flipV="1">
              <a:off x="7845073" y="5357390"/>
              <a:ext cx="1440000" cy="1440000"/>
            </a:xfrm>
            <a:custGeom>
              <a:avLst/>
              <a:gdLst>
                <a:gd name="connsiteX0" fmla="*/ 0 w 1875842"/>
                <a:gd name="connsiteY0" fmla="*/ 937921 h 1875842"/>
                <a:gd name="connsiteX1" fmla="*/ 937921 w 1875842"/>
                <a:gd name="connsiteY1" fmla="*/ 0 h 1875842"/>
                <a:gd name="connsiteX2" fmla="*/ 1875842 w 1875842"/>
                <a:gd name="connsiteY2" fmla="*/ 937921 h 1875842"/>
                <a:gd name="connsiteX3" fmla="*/ 937921 w 1875842"/>
                <a:gd name="connsiteY3" fmla="*/ 1875842 h 1875842"/>
                <a:gd name="connsiteX4" fmla="*/ 0 w 1875842"/>
                <a:gd name="connsiteY4" fmla="*/ 937921 h 1875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5842" h="1875842">
                  <a:moveTo>
                    <a:pt x="0" y="937921"/>
                  </a:moveTo>
                  <a:cubicBezTo>
                    <a:pt x="0" y="419922"/>
                    <a:pt x="419922" y="0"/>
                    <a:pt x="937921" y="0"/>
                  </a:cubicBezTo>
                  <a:cubicBezTo>
                    <a:pt x="1455920" y="0"/>
                    <a:pt x="1875842" y="419922"/>
                    <a:pt x="1875842" y="937921"/>
                  </a:cubicBezTo>
                  <a:cubicBezTo>
                    <a:pt x="1875842" y="1455920"/>
                    <a:pt x="1455920" y="1875842"/>
                    <a:pt x="937921" y="1875842"/>
                  </a:cubicBezTo>
                  <a:cubicBezTo>
                    <a:pt x="419922" y="1875842"/>
                    <a:pt x="0" y="1455920"/>
                    <a:pt x="0" y="937921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95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18900000" scaled="1"/>
            </a:gradFill>
            <a:ln>
              <a:noFill/>
            </a:ln>
            <a:effectLst>
              <a:outerShdw blurRad="254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828000" rtlCol="0" anchor="t">
              <a:noAutofit/>
            </a:bodyPr>
            <a:lstStyle/>
            <a:p>
              <a:pPr marL="0" marR="0" lvl="0" indent="0" algn="ctr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80AFD0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Partnerships</a:t>
              </a:r>
            </a:p>
          </p:txBody>
        </p:sp>
        <p:pic>
          <p:nvPicPr>
            <p:cNvPr id="89" name="Graphic 88">
              <a:extLst>
                <a:ext uri="{FF2B5EF4-FFF2-40B4-BE49-F238E27FC236}">
                  <a16:creationId xmlns:a16="http://schemas.microsoft.com/office/drawing/2014/main" id="{C39B731D-82F1-99E2-53DC-06B43FC07A23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9678877" y="4692622"/>
              <a:ext cx="326196" cy="326196"/>
            </a:xfrm>
            <a:prstGeom prst="rect">
              <a:avLst/>
            </a:prstGeom>
          </p:spPr>
        </p:pic>
        <p:pic>
          <p:nvPicPr>
            <p:cNvPr id="90" name="CustomIcon">
              <a:extLst>
                <a:ext uri="{FF2B5EF4-FFF2-40B4-BE49-F238E27FC236}">
                  <a16:creationId xmlns:a16="http://schemas.microsoft.com/office/drawing/2014/main" id="{13962F2F-E512-93F0-6955-F77DE976E86C}"/>
                </a:ext>
              </a:extLst>
            </p:cNvPr>
            <p:cNvPicPr>
              <a:picLocks/>
            </p:cNvPicPr>
            <p:nvPr>
              <p:custDataLst>
                <p:tags r:id="rId15"/>
              </p:custDataLst>
            </p:nvPr>
          </p:nvPicPr>
          <p:blipFill>
            <a:blip r:embed="rId43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8417139" y="4720571"/>
              <a:ext cx="295868" cy="274874"/>
            </a:xfrm>
            <a:prstGeom prst="rect">
              <a:avLst/>
            </a:prstGeom>
          </p:spPr>
        </p:pic>
        <p:pic>
          <p:nvPicPr>
            <p:cNvPr id="91" name="Graphic 90">
              <a:extLst>
                <a:ext uri="{FF2B5EF4-FFF2-40B4-BE49-F238E27FC236}">
                  <a16:creationId xmlns:a16="http://schemas.microsoft.com/office/drawing/2014/main" id="{C433AA09-006C-DA98-BC3D-F54E6F6A9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5">
              <a:extLst>
                <a:ext uri="{96DAC541-7B7A-43D3-8B79-37D633B846F1}">
                  <asvg:svgBlip xmlns:asvg="http://schemas.microsoft.com/office/drawing/2016/SVG/main" r:embed="rId46"/>
                </a:ext>
              </a:extLst>
            </a:blip>
            <a:stretch>
              <a:fillRect/>
            </a:stretch>
          </p:blipFill>
          <p:spPr>
            <a:xfrm>
              <a:off x="8405788" y="5730661"/>
              <a:ext cx="339819" cy="339819"/>
            </a:xfrm>
            <a:prstGeom prst="rect">
              <a:avLst/>
            </a:prstGeom>
          </p:spPr>
        </p:pic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11B0314-85A8-5FF4-C905-F1EB0B3A2DE5}"/>
                </a:ext>
              </a:extLst>
            </p:cNvPr>
            <p:cNvSpPr/>
            <p:nvPr/>
          </p:nvSpPr>
          <p:spPr>
            <a:xfrm rot="10800000" flipV="1">
              <a:off x="9141657" y="5355366"/>
              <a:ext cx="1440000" cy="1440000"/>
            </a:xfrm>
            <a:custGeom>
              <a:avLst/>
              <a:gdLst>
                <a:gd name="connsiteX0" fmla="*/ 0 w 1875842"/>
                <a:gd name="connsiteY0" fmla="*/ 937921 h 1875842"/>
                <a:gd name="connsiteX1" fmla="*/ 937921 w 1875842"/>
                <a:gd name="connsiteY1" fmla="*/ 0 h 1875842"/>
                <a:gd name="connsiteX2" fmla="*/ 1875842 w 1875842"/>
                <a:gd name="connsiteY2" fmla="*/ 937921 h 1875842"/>
                <a:gd name="connsiteX3" fmla="*/ 937921 w 1875842"/>
                <a:gd name="connsiteY3" fmla="*/ 1875842 h 1875842"/>
                <a:gd name="connsiteX4" fmla="*/ 0 w 1875842"/>
                <a:gd name="connsiteY4" fmla="*/ 937921 h 18758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75842" h="1875842">
                  <a:moveTo>
                    <a:pt x="0" y="937921"/>
                  </a:moveTo>
                  <a:cubicBezTo>
                    <a:pt x="0" y="419922"/>
                    <a:pt x="419922" y="0"/>
                    <a:pt x="937921" y="0"/>
                  </a:cubicBezTo>
                  <a:cubicBezTo>
                    <a:pt x="1455920" y="0"/>
                    <a:pt x="1875842" y="419922"/>
                    <a:pt x="1875842" y="937921"/>
                  </a:cubicBezTo>
                  <a:cubicBezTo>
                    <a:pt x="1875842" y="1455920"/>
                    <a:pt x="1455920" y="1875842"/>
                    <a:pt x="937921" y="1875842"/>
                  </a:cubicBezTo>
                  <a:cubicBezTo>
                    <a:pt x="419922" y="1875842"/>
                    <a:pt x="0" y="1455920"/>
                    <a:pt x="0" y="937921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alpha val="95000"/>
                  </a:schemeClr>
                </a:gs>
                <a:gs pos="100000">
                  <a:schemeClr val="bg1">
                    <a:alpha val="60000"/>
                  </a:schemeClr>
                </a:gs>
              </a:gsLst>
              <a:lin ang="18900000" scaled="1"/>
            </a:gradFill>
            <a:ln>
              <a:noFill/>
            </a:ln>
            <a:effectLst>
              <a:outerShdw blurRad="254000" algn="ctr" rotWithShape="0">
                <a:prstClr val="black">
                  <a:alpha val="20000"/>
                </a:prstClr>
              </a:outerShdw>
            </a:effectLst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828000" rIns="91440" bIns="45720" rtlCol="0" anchor="t">
              <a:noAutofit/>
            </a:bodyPr>
            <a:lstStyle/>
            <a:p>
              <a:pPr marL="0" marR="0" lvl="0" indent="0" algn="ctr" defTabSz="173355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1200" cap="none" spc="0" normalizeH="0" baseline="0" noProof="0">
                  <a:ln>
                    <a:noFill/>
                  </a:ln>
                  <a:solidFill>
                    <a:srgbClr val="1C46A6"/>
                  </a:solidFill>
                  <a:effectLst/>
                  <a:uLnTx/>
                  <a:uFillTx/>
                  <a:latin typeface="Calibri Light" panose="020F0302020204030204" pitchFamily="34" charset="0"/>
                  <a:ea typeface="Calibri Light" panose="020F0302020204030204" pitchFamily="34" charset="0"/>
                  <a:cs typeface="Calibri Light" panose="020F0302020204030204" pitchFamily="34" charset="0"/>
                </a:rPr>
                <a:t>New business</a:t>
              </a:r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CA61B0DC-BFF8-7E95-E2D7-372B7C04E316}"/>
                </a:ext>
              </a:extLst>
            </p:cNvPr>
            <p:cNvPicPr>
              <a:picLocks noChangeAspect="1"/>
            </p:cNvPicPr>
            <p:nvPr/>
          </p:nvPicPr>
          <p:blipFill>
            <a:blip r:embed="rId47"/>
            <a:stretch>
              <a:fillRect/>
            </a:stretch>
          </p:blipFill>
          <p:spPr>
            <a:xfrm>
              <a:off x="9434047" y="5780667"/>
              <a:ext cx="823482" cy="240600"/>
            </a:xfrm>
            <a:prstGeom prst="rect">
              <a:avLst/>
            </a:prstGeom>
          </p:spPr>
        </p:pic>
      </p:grpSp>
      <p:pic>
        <p:nvPicPr>
          <p:cNvPr id="94" name="Picture 93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BB802788-D586-390B-F11E-9373C0D6839A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alphaModFix amt="40000"/>
          </a:blip>
          <a:srcRect t="51505"/>
          <a:stretch/>
        </p:blipFill>
        <p:spPr>
          <a:xfrm flipH="1">
            <a:off x="7012750" y="3138350"/>
            <a:ext cx="4246887" cy="366937"/>
          </a:xfrm>
          <a:prstGeom prst="rect">
            <a:avLst/>
          </a:prstGeom>
        </p:spPr>
      </p:pic>
      <p:sp>
        <p:nvSpPr>
          <p:cNvPr id="95" name="TextBox 94">
            <a:extLst>
              <a:ext uri="{FF2B5EF4-FFF2-40B4-BE49-F238E27FC236}">
                <a16:creationId xmlns:a16="http://schemas.microsoft.com/office/drawing/2014/main" id="{7566FC13-2D02-13A7-E312-386B466BA8BD}"/>
              </a:ext>
            </a:extLst>
          </p:cNvPr>
          <p:cNvSpPr txBox="1"/>
          <p:nvPr/>
        </p:nvSpPr>
        <p:spPr>
          <a:xfrm>
            <a:off x="7417703" y="3165749"/>
            <a:ext cx="4354339" cy="430887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L="0" marR="0" lvl="3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en-US" sz="2800" b="1" i="0" u="none" strike="noStrike" kern="1200" cap="none" spc="0" normalizeH="0" baseline="30000" noProof="0" dirty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</a:t>
            </a: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47596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igital business - CemAI</a:t>
            </a:r>
          </a:p>
        </p:txBody>
      </p:sp>
      <p:sp>
        <p:nvSpPr>
          <p:cNvPr id="96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536E1ADD-36D6-A97F-3702-C10BA93F06FD}"/>
              </a:ext>
            </a:extLst>
          </p:cNvPr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937752" y="5521222"/>
            <a:ext cx="1486168" cy="443198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RMC mix optimization</a:t>
            </a:r>
          </a:p>
        </p:txBody>
      </p:sp>
      <p:pic>
        <p:nvPicPr>
          <p:cNvPr id="97" name="Graphic 96">
            <a:extLst>
              <a:ext uri="{FF2B5EF4-FFF2-40B4-BE49-F238E27FC236}">
                <a16:creationId xmlns:a16="http://schemas.microsoft.com/office/drawing/2014/main" id="{367A1BE6-BAAF-52D4-3413-B88472A47AD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754729" y="5620389"/>
            <a:ext cx="244866" cy="244866"/>
          </a:xfrm>
          <a:prstGeom prst="rect">
            <a:avLst/>
          </a:prstGeom>
        </p:spPr>
      </p:pic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8E5AAD05-65A6-988E-7714-91118916B965}"/>
              </a:ext>
            </a:extLst>
          </p:cNvPr>
          <p:cNvCxnSpPr>
            <a:cxnSpLocks/>
          </p:cNvCxnSpPr>
          <p:nvPr/>
        </p:nvCxnSpPr>
        <p:spPr>
          <a:xfrm>
            <a:off x="414440" y="5460694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9" name="Graphic 98" descr="Cement truck with solid fill">
            <a:extLst>
              <a:ext uri="{FF2B5EF4-FFF2-40B4-BE49-F238E27FC236}">
                <a16:creationId xmlns:a16="http://schemas.microsoft.com/office/drawing/2014/main" id="{59FA1417-F2CA-7156-E2C4-2AF0B93A98CE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485243" y="5565545"/>
            <a:ext cx="345043" cy="345043"/>
          </a:xfrm>
          <a:prstGeom prst="rect">
            <a:avLst/>
          </a:prstGeom>
        </p:spPr>
      </p:pic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F75F2F4C-1075-DBEF-CFC2-05A86BB263A3}"/>
              </a:ext>
            </a:extLst>
          </p:cNvPr>
          <p:cNvSpPr/>
          <p:nvPr/>
        </p:nvSpPr>
        <p:spPr>
          <a:xfrm>
            <a:off x="414441" y="5527111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01" name="Graphic 100">
            <a:extLst>
              <a:ext uri="{FF2B5EF4-FFF2-40B4-BE49-F238E27FC236}">
                <a16:creationId xmlns:a16="http://schemas.microsoft.com/office/drawing/2014/main" id="{9D8C64A3-7AD0-1D57-88E1-043613B6C0E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310222" y="1674485"/>
            <a:ext cx="244866" cy="244866"/>
          </a:xfrm>
          <a:prstGeom prst="rect">
            <a:avLst/>
          </a:prstGeom>
        </p:spPr>
      </p:pic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72BF8FD-31DF-B908-EBEE-8503665EF310}"/>
              </a:ext>
            </a:extLst>
          </p:cNvPr>
          <p:cNvCxnSpPr>
            <a:cxnSpLocks/>
          </p:cNvCxnSpPr>
          <p:nvPr/>
        </p:nvCxnSpPr>
        <p:spPr>
          <a:xfrm>
            <a:off x="3270927" y="2816328"/>
            <a:ext cx="257097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F299EB87-54C5-8EEB-5603-63EA173BE5D0}"/>
              </a:ext>
            </a:extLst>
          </p:cNvPr>
          <p:cNvCxnSpPr>
            <a:cxnSpLocks/>
          </p:cNvCxnSpPr>
          <p:nvPr/>
        </p:nvCxnSpPr>
        <p:spPr>
          <a:xfrm>
            <a:off x="3270927" y="2190218"/>
            <a:ext cx="257097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Freeform: Shape 103">
            <a:extLst>
              <a:ext uri="{FF2B5EF4-FFF2-40B4-BE49-F238E27FC236}">
                <a16:creationId xmlns:a16="http://schemas.microsoft.com/office/drawing/2014/main" id="{5DA1190A-E585-B68B-6CEE-F89A4A7D1A4D}"/>
              </a:ext>
            </a:extLst>
          </p:cNvPr>
          <p:cNvSpPr/>
          <p:nvPr/>
        </p:nvSpPr>
        <p:spPr>
          <a:xfrm>
            <a:off x="3252567" y="2259071"/>
            <a:ext cx="438996" cy="438846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5" name="Rectangle 286">
            <a:hlinkClick r:id="" action="ppaction://noaction"/>
            <a:extLst>
              <a:ext uri="{FF2B5EF4-FFF2-40B4-BE49-F238E27FC236}">
                <a16:creationId xmlns:a16="http://schemas.microsoft.com/office/drawing/2014/main" id="{0C225124-E00F-4EB4-C524-7E777762FC68}"/>
              </a:ext>
            </a:extLst>
          </p:cNvPr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785168" y="2368879"/>
            <a:ext cx="1629806" cy="221599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indent="0" defTabSz="895350" eaLnBrk="1" hangingPunct="1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/>
              <a:buChar char="-"/>
              <a:defRPr>
                <a:latin typeface="+mn-lt"/>
              </a:defRPr>
            </a:lvl9pPr>
          </a:lstStyle>
          <a:p>
            <a:pPr marL="0" marR="0" lvl="0" indent="0" algn="l" defTabSz="928242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Calibri Light" panose="020F0302020204030204" pitchFamily="34" charset="0"/>
                <a:cs typeface="Calibri Light" panose="020F0302020204030204" pitchFamily="34" charset="0"/>
              </a:rPr>
              <a:t>Customer portals</a:t>
            </a:r>
          </a:p>
        </p:txBody>
      </p:sp>
      <p:pic>
        <p:nvPicPr>
          <p:cNvPr id="106" name="Graphic 105">
            <a:extLst>
              <a:ext uri="{FF2B5EF4-FFF2-40B4-BE49-F238E27FC236}">
                <a16:creationId xmlns:a16="http://schemas.microsoft.com/office/drawing/2014/main" id="{49A0D4AA-0F41-1211-6E83-A918D374FAA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307998" y="2359530"/>
            <a:ext cx="244866" cy="244866"/>
          </a:xfrm>
          <a:prstGeom prst="rect">
            <a:avLst/>
          </a:prstGeom>
        </p:spPr>
      </p:pic>
      <p:pic>
        <p:nvPicPr>
          <p:cNvPr id="107" name="Graphic 106">
            <a:extLst>
              <a:ext uri="{FF2B5EF4-FFF2-40B4-BE49-F238E27FC236}">
                <a16:creationId xmlns:a16="http://schemas.microsoft.com/office/drawing/2014/main" id="{30E5295A-F30C-7A9B-DA70-8EFC23A5E97B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594499" y="2359530"/>
            <a:ext cx="244866" cy="244866"/>
          </a:xfrm>
          <a:prstGeom prst="rect">
            <a:avLst/>
          </a:prstGeom>
        </p:spPr>
      </p:pic>
      <p:pic>
        <p:nvPicPr>
          <p:cNvPr id="108" name="Graphic 107" descr="Smart Phone outline">
            <a:extLst>
              <a:ext uri="{FF2B5EF4-FFF2-40B4-BE49-F238E27FC236}">
                <a16:creationId xmlns:a16="http://schemas.microsoft.com/office/drawing/2014/main" id="{9F4E1CCE-D7EB-B1B8-C822-65961DC6EF6C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96DAC541-7B7A-43D3-8B79-37D633B846F1}">
                <asvg:svgBlip xmlns:asvg="http://schemas.microsoft.com/office/drawing/2016/SVG/main" r:embed="rId51"/>
              </a:ext>
            </a:extLst>
          </a:blip>
          <a:stretch>
            <a:fillRect/>
          </a:stretch>
        </p:blipFill>
        <p:spPr>
          <a:xfrm>
            <a:off x="3334939" y="2323954"/>
            <a:ext cx="305094" cy="30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04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8BF089-5330-1D6A-691F-C6CBAD23BC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8ACDC1B8-101E-3BF6-A29A-F1626A3A71E1}"/>
              </a:ext>
            </a:extLst>
          </p:cNvPr>
          <p:cNvSpPr txBox="1">
            <a:spLocks/>
          </p:cNvSpPr>
          <p:nvPr/>
        </p:nvSpPr>
        <p:spPr>
          <a:xfrm>
            <a:off x="6096000" y="1706887"/>
            <a:ext cx="5329235" cy="30581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1" u="none" strike="noStrike" kern="1200" cap="none" spc="0" normalizeH="0" baseline="0" noProof="0">
                <a:ln>
                  <a:noFill/>
                </a:ln>
                <a:solidFill>
                  <a:srgbClr val="20286E"/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“…using its well-organized </a:t>
            </a:r>
            <a:r>
              <a:rPr kumimoji="0" lang="en-US" sz="3600" b="1" i="1" u="none" strike="noStrike" kern="1200" cap="none" spc="0" normalizeH="0" baseline="0" noProof="0">
                <a:ln>
                  <a:noFill/>
                </a:ln>
                <a:solidFill>
                  <a:srgbClr val="76B72A"/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data to develop unique algorithms</a:t>
            </a:r>
            <a:r>
              <a:rPr kumimoji="0" lang="en-US" sz="3600" b="1" i="1" u="none" strike="noStrike" kern="1200" cap="none" spc="0" normalizeH="0" baseline="0" noProof="0">
                <a:ln>
                  <a:noFill/>
                </a:ln>
                <a:solidFill>
                  <a:srgbClr val="20286E"/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, Titan optimized production, improved reliability and streamlined logistics…these efforts led to an </a:t>
            </a:r>
            <a:r>
              <a:rPr kumimoji="0" lang="en-US" sz="3600" b="1" i="1" u="none" strike="noStrike" kern="1200" cap="none" spc="0" normalizeH="0" baseline="0" noProof="0">
                <a:ln>
                  <a:noFill/>
                </a:ln>
                <a:solidFill>
                  <a:srgbClr val="76B72A"/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estimated ROI of 500% </a:t>
            </a:r>
            <a:r>
              <a:rPr kumimoji="0" lang="en-US" sz="3600" b="1" i="1" u="none" strike="noStrike" kern="1200" cap="none" spc="0" normalizeH="0" baseline="0" noProof="0">
                <a:ln>
                  <a:noFill/>
                </a:ln>
                <a:solidFill>
                  <a:srgbClr val="20286E"/>
                </a:solidFill>
                <a:effectLst/>
                <a:uLnTx/>
                <a:uFillTx/>
                <a:latin typeface="Calibri BOLD"/>
                <a:ea typeface="+mj-ea"/>
                <a:cs typeface="+mj-cs"/>
              </a:rPr>
              <a:t>”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7F99CBC-F297-A632-24D2-88E620DD89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1867"/>
            <a:ext cx="4574020" cy="675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2873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bject 4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7252716" y="1117599"/>
            <a:ext cx="4939283" cy="5740400"/>
          </a:xfrm>
          <a:prstGeom prst="rect">
            <a:avLst/>
          </a:prstGeom>
        </p:spPr>
      </p:pic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301306" y="172965"/>
            <a:ext cx="10806049" cy="599702"/>
          </a:xfrm>
          <a:prstGeom prst="rect">
            <a:avLst/>
          </a:prstGeom>
        </p:spPr>
        <p:txBody>
          <a:bodyPr vert="horz" wrap="square" lIns="0" tIns="106222" rIns="0" bIns="0" rtlCol="0">
            <a:spAutoFit/>
          </a:bodyPr>
          <a:lstStyle/>
          <a:p>
            <a:pPr marL="213360">
              <a:lnSpc>
                <a:spcPct val="100000"/>
              </a:lnSpc>
              <a:spcBef>
                <a:spcPts val="100"/>
              </a:spcBef>
            </a:pPr>
            <a:r>
              <a:rPr lang="en-US" sz="3200" dirty="0">
                <a:latin typeface="+mj-lt"/>
              </a:rPr>
              <a:t>Digital</a:t>
            </a:r>
            <a:r>
              <a:rPr lang="en-US" sz="3200" spc="-55" dirty="0">
                <a:latin typeface="+mj-lt"/>
              </a:rPr>
              <a:t> </a:t>
            </a:r>
            <a:r>
              <a:rPr lang="en-US" sz="3200" dirty="0">
                <a:latin typeface="+mj-lt"/>
              </a:rPr>
              <a:t>delivering</a:t>
            </a:r>
            <a:r>
              <a:rPr lang="en-US" sz="3200" spc="-60" dirty="0">
                <a:latin typeface="+mj-lt"/>
              </a:rPr>
              <a:t> </a:t>
            </a:r>
            <a:r>
              <a:rPr lang="en-US" sz="3200" dirty="0">
                <a:latin typeface="+mj-lt"/>
              </a:rPr>
              <a:t>substantial</a:t>
            </a:r>
            <a:r>
              <a:rPr lang="en-US" sz="3200" spc="-55" dirty="0">
                <a:latin typeface="+mj-lt"/>
              </a:rPr>
              <a:t> </a:t>
            </a:r>
            <a:r>
              <a:rPr lang="en-US" sz="3200" spc="-10" dirty="0">
                <a:latin typeface="+mj-lt"/>
              </a:rPr>
              <a:t>benefits, also in CO</a:t>
            </a:r>
            <a:r>
              <a:rPr lang="en-US" sz="3200" spc="-10" baseline="-25000" dirty="0">
                <a:latin typeface="+mj-lt"/>
              </a:rPr>
              <a:t>2</a:t>
            </a:r>
            <a:r>
              <a:rPr lang="en-US" sz="3200" spc="-10" dirty="0">
                <a:latin typeface="+mj-lt"/>
              </a:rPr>
              <a:t> reduction</a:t>
            </a:r>
          </a:p>
        </p:txBody>
      </p:sp>
      <p:grpSp>
        <p:nvGrpSpPr>
          <p:cNvPr id="12" name="object 12"/>
          <p:cNvGrpSpPr/>
          <p:nvPr/>
        </p:nvGrpSpPr>
        <p:grpSpPr>
          <a:xfrm>
            <a:off x="697991" y="1237488"/>
            <a:ext cx="4696968" cy="2269617"/>
            <a:chOff x="697991" y="1237488"/>
            <a:chExt cx="4696968" cy="2269617"/>
          </a:xfrm>
        </p:grpSpPr>
        <p:sp>
          <p:nvSpPr>
            <p:cNvPr id="13" name="object 13"/>
            <p:cNvSpPr/>
            <p:nvPr/>
          </p:nvSpPr>
          <p:spPr>
            <a:xfrm>
              <a:off x="701039" y="1661160"/>
              <a:ext cx="4686300" cy="1845945"/>
            </a:xfrm>
            <a:custGeom>
              <a:avLst/>
              <a:gdLst/>
              <a:ahLst/>
              <a:cxnLst/>
              <a:rect l="l" t="t" r="r" b="b"/>
              <a:pathLst>
                <a:path w="4686300" h="1845945">
                  <a:moveTo>
                    <a:pt x="4686300" y="0"/>
                  </a:moveTo>
                  <a:lnTo>
                    <a:pt x="0" y="0"/>
                  </a:lnTo>
                  <a:lnTo>
                    <a:pt x="0" y="1845564"/>
                  </a:lnTo>
                  <a:lnTo>
                    <a:pt x="4686300" y="1845564"/>
                  </a:lnTo>
                  <a:lnTo>
                    <a:pt x="4686300" y="0"/>
                  </a:lnTo>
                  <a:close/>
                </a:path>
              </a:pathLst>
            </a:custGeom>
            <a:solidFill>
              <a:srgbClr val="F4F4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14" name="object 1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7991" y="1251204"/>
              <a:ext cx="438911" cy="225552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97991" y="1237488"/>
              <a:ext cx="4696968" cy="411479"/>
            </a:xfrm>
            <a:prstGeom prst="rect">
              <a:avLst/>
            </a:prstGeom>
          </p:spPr>
        </p:pic>
      </p:grpSp>
      <p:sp>
        <p:nvSpPr>
          <p:cNvPr id="16" name="object 16"/>
          <p:cNvSpPr txBox="1"/>
          <p:nvPr/>
        </p:nvSpPr>
        <p:spPr>
          <a:xfrm>
            <a:off x="1087018" y="1287271"/>
            <a:ext cx="3886200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eal-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time</a:t>
            </a:r>
            <a:r>
              <a:rPr kumimoji="0" lang="en-US" sz="2000" b="1" i="0" u="none" strike="noStrike" kern="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sset</a:t>
            </a:r>
            <a:r>
              <a:rPr kumimoji="0" lang="en-US" sz="2000" b="1" i="0" u="none" strike="noStrike" kern="0" cap="none" spc="2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ptimization</a:t>
            </a:r>
            <a:r>
              <a:rPr kumimoji="0" lang="en-US" sz="2000" b="1" i="0" u="none" strike="noStrike" kern="0" cap="none" spc="-4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0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(RTO)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7" name="object 17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876300" y="1789176"/>
            <a:ext cx="2183892" cy="1588008"/>
          </a:xfrm>
          <a:prstGeom prst="rect">
            <a:avLst/>
          </a:prstGeom>
        </p:spPr>
      </p:pic>
      <p:sp>
        <p:nvSpPr>
          <p:cNvPr id="18" name="object 18"/>
          <p:cNvSpPr txBox="1"/>
          <p:nvPr/>
        </p:nvSpPr>
        <p:spPr>
          <a:xfrm>
            <a:off x="3239770" y="1960662"/>
            <a:ext cx="2052000" cy="84318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ioneering</a:t>
            </a:r>
            <a:r>
              <a:rPr kumimoji="0" lang="en-US" b="1" i="0" u="none" strike="noStrike" kern="0" cap="none" spc="-6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i="0" u="none" strike="noStrike" kern="0" cap="none" spc="-6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“</a:t>
            </a:r>
            <a:r>
              <a:rPr kumimoji="0" lang="en-US" b="0" i="0" u="none" strike="noStrike" kern="0" cap="none" spc="-1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losed 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oop”</a:t>
            </a:r>
            <a:r>
              <a:rPr kumimoji="0" lang="en-US" b="0" i="0" u="none" strike="noStrike" kern="0" cap="none" spc="-114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I</a:t>
            </a:r>
            <a:r>
              <a:rPr kumimoji="0" lang="en-US" b="1" i="0" u="none" strike="noStrike" kern="0" cap="none" spc="-1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ptimizer</a:t>
            </a:r>
            <a:r>
              <a:rPr kumimoji="0" lang="en-US" b="1" i="0" u="none" strike="noStrike" kern="0" cap="none" spc="-2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0" i="0" u="none" strike="noStrike" kern="0" cap="none" spc="-2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 </a:t>
            </a:r>
            <a:r>
              <a:rPr kumimoji="0" lang="en-US" b="0" i="0" u="none" strike="noStrike" kern="0" cap="none" spc="-1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ement</a:t>
            </a: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9" name="object 19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5512308" y="1237488"/>
            <a:ext cx="2921508" cy="2255520"/>
          </a:xfrm>
          <a:prstGeom prst="rect">
            <a:avLst/>
          </a:prstGeom>
        </p:spPr>
      </p:pic>
      <p:sp>
        <p:nvSpPr>
          <p:cNvPr id="21" name="object 21"/>
          <p:cNvSpPr txBox="1"/>
          <p:nvPr/>
        </p:nvSpPr>
        <p:spPr>
          <a:xfrm>
            <a:off x="5704331" y="1376468"/>
            <a:ext cx="2617597" cy="840551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lvl="0" indent="178435" algn="l" defTabSz="914400" rtl="0" eaLnBrk="1" fontAlgn="auto" latinLnBrk="0" hangingPunct="1">
              <a:lnSpc>
                <a:spcPct val="100699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5%-10% productivity improvement &amp; energy consumption reduction</a:t>
            </a:r>
          </a:p>
        </p:txBody>
      </p:sp>
      <p:grpSp>
        <p:nvGrpSpPr>
          <p:cNvPr id="22" name="object 22"/>
          <p:cNvGrpSpPr/>
          <p:nvPr/>
        </p:nvGrpSpPr>
        <p:grpSpPr>
          <a:xfrm>
            <a:off x="693419" y="4177284"/>
            <a:ext cx="4696968" cy="2252979"/>
            <a:chOff x="693419" y="3605784"/>
            <a:chExt cx="4696968" cy="2252979"/>
          </a:xfrm>
        </p:grpSpPr>
        <p:sp>
          <p:nvSpPr>
            <p:cNvPr id="23" name="object 23"/>
            <p:cNvSpPr/>
            <p:nvPr/>
          </p:nvSpPr>
          <p:spPr>
            <a:xfrm>
              <a:off x="696467" y="4002024"/>
              <a:ext cx="4691380" cy="1856739"/>
            </a:xfrm>
            <a:custGeom>
              <a:avLst/>
              <a:gdLst/>
              <a:ahLst/>
              <a:cxnLst/>
              <a:rect l="l" t="t" r="r" b="b"/>
              <a:pathLst>
                <a:path w="4691380" h="1856739">
                  <a:moveTo>
                    <a:pt x="4690872" y="0"/>
                  </a:moveTo>
                  <a:lnTo>
                    <a:pt x="0" y="0"/>
                  </a:lnTo>
                  <a:lnTo>
                    <a:pt x="0" y="1856232"/>
                  </a:lnTo>
                  <a:lnTo>
                    <a:pt x="4690872" y="1856232"/>
                  </a:lnTo>
                  <a:lnTo>
                    <a:pt x="4690872" y="0"/>
                  </a:lnTo>
                  <a:close/>
                </a:path>
              </a:pathLst>
            </a:custGeom>
            <a:solidFill>
              <a:srgbClr val="F4F4F6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0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24" name="object 24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3419" y="3605784"/>
              <a:ext cx="438911" cy="2252472"/>
            </a:xfrm>
            <a:prstGeom prst="rect">
              <a:avLst/>
            </a:prstGeom>
          </p:spPr>
        </p:pic>
        <p:pic>
          <p:nvPicPr>
            <p:cNvPr id="25" name="object 25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693419" y="3605784"/>
              <a:ext cx="4696968" cy="411479"/>
            </a:xfrm>
            <a:prstGeom prst="rect">
              <a:avLst/>
            </a:prstGeom>
          </p:spPr>
        </p:pic>
      </p:grpSp>
      <p:sp>
        <p:nvSpPr>
          <p:cNvPr id="26" name="object 26"/>
          <p:cNvSpPr txBox="1"/>
          <p:nvPr/>
        </p:nvSpPr>
        <p:spPr>
          <a:xfrm>
            <a:off x="942847" y="4227703"/>
            <a:ext cx="4164329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edictive</a:t>
            </a:r>
            <a:r>
              <a:rPr kumimoji="0" lang="en-US" sz="2000" b="1" i="0" u="none" strike="noStrike" kern="0" cap="none" spc="-4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&amp;</a:t>
            </a:r>
            <a:r>
              <a:rPr kumimoji="0" lang="en-US" sz="2000" b="1" i="0" u="none" strike="noStrike" kern="0" cap="none" spc="-65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escriptive</a:t>
            </a:r>
            <a:r>
              <a:rPr kumimoji="0" lang="en-US" sz="2000" b="1" i="0" u="none" strike="noStrike" kern="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sz="2000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Maintenance</a:t>
            </a: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3238626" y="4822697"/>
            <a:ext cx="2052000" cy="139717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508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nly</a:t>
            </a:r>
            <a:r>
              <a:rPr kumimoji="0" lang="en-US" b="1" i="0" u="none" strike="noStrike" kern="0" cap="none" spc="-9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I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,</a:t>
            </a:r>
            <a:r>
              <a:rPr kumimoji="0" lang="en-US" b="0" i="0" u="none" strike="noStrike" kern="0" cap="none" spc="1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0" i="0" u="none" strike="noStrike" kern="0" cap="none" spc="-1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nd-to-</a:t>
            </a:r>
            <a:r>
              <a:rPr kumimoji="0" lang="en-US" b="0" i="0" u="none" strike="noStrike" kern="0" cap="none" spc="-2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nd, 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failure</a:t>
            </a:r>
            <a:r>
              <a:rPr kumimoji="0" lang="en-US" b="1" i="0" u="none" strike="noStrike" kern="0" cap="none" spc="-4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ediction</a:t>
            </a:r>
            <a:r>
              <a:rPr kumimoji="0" lang="en-US" b="1" i="0" u="none" strike="noStrike" kern="0" cap="none" spc="-4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1" i="0" u="none" strike="noStrike" kern="0" cap="none" spc="-2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in </a:t>
            </a: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cement</a:t>
            </a:r>
            <a:r>
              <a:rPr kumimoji="0" lang="en-US" i="0" u="none" strike="noStrike" kern="0" cap="none" spc="-7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,</a:t>
            </a:r>
            <a:r>
              <a:rPr kumimoji="0" lang="en-US" b="1" i="0" u="none" strike="noStrike" kern="0" cap="none" spc="-7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upported</a:t>
            </a:r>
            <a:r>
              <a:rPr kumimoji="0" lang="en-US" b="0" i="0" u="none" strike="noStrike" kern="0" cap="none" spc="-7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0" i="0" u="none" strike="noStrike" kern="0" cap="none" spc="-2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by </a:t>
            </a:r>
            <a:r>
              <a:rPr kumimoji="0" lang="en-US" b="0" i="0" u="none" strike="noStrike" kern="0" cap="none" spc="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expert</a:t>
            </a:r>
            <a:r>
              <a:rPr kumimoji="0" lang="en-US" b="0" i="0" u="none" strike="noStrike" kern="0" cap="none" spc="-35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0" i="0" u="none" strike="noStrike" kern="0" cap="none" spc="-10" normalizeH="0" baseline="0" noProof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Service Centers</a:t>
            </a:r>
            <a:endParaRPr kumimoji="0" lang="en-US" b="0" i="0" u="none" strike="noStrike" kern="0" cap="none" spc="0" normalizeH="0" baseline="0" noProof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8" name="object 28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74775" y="4704588"/>
            <a:ext cx="2183892" cy="1594104"/>
          </a:xfrm>
          <a:prstGeom prst="rect">
            <a:avLst/>
          </a:prstGeom>
        </p:spPr>
      </p:pic>
      <p:pic>
        <p:nvPicPr>
          <p:cNvPr id="29" name="object 29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5512308" y="4177284"/>
            <a:ext cx="2921508" cy="2252472"/>
          </a:xfrm>
          <a:prstGeom prst="rect">
            <a:avLst/>
          </a:prstGeom>
        </p:spPr>
      </p:pic>
      <p:sp>
        <p:nvSpPr>
          <p:cNvPr id="30" name="object 30"/>
          <p:cNvSpPr txBox="1"/>
          <p:nvPr/>
        </p:nvSpPr>
        <p:spPr>
          <a:xfrm>
            <a:off x="5808598" y="4842509"/>
            <a:ext cx="2331720" cy="84382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&gt; 20,000</a:t>
            </a:r>
            <a:endParaRPr kumimoji="0" lang="en-US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37465" marR="30480" lvl="0" indent="-635" algn="ctr" defTabSz="914400" rtl="0" eaLnBrk="1" fontAlgn="auto" latinLnBrk="0" hangingPunct="1">
              <a:lnSpc>
                <a:spcPct val="100000"/>
              </a:lnSpc>
              <a:spcBef>
                <a:spcPts val="2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hours</a:t>
            </a:r>
            <a:r>
              <a:rPr kumimoji="0" lang="en-US" b="1" i="0" u="none" strike="noStrike" kern="0" cap="none" spc="-3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of</a:t>
            </a:r>
            <a:r>
              <a:rPr kumimoji="0" lang="en-US" b="1" i="0" u="none" strike="noStrike" kern="0" cap="none" spc="-2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kumimoji="0" lang="en-US" b="1" i="0" u="none" strike="noStrike" kern="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owntime </a:t>
            </a:r>
            <a:r>
              <a: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prevented</a:t>
            </a:r>
            <a:endParaRPr kumimoji="0" lang="en-US" b="0" i="0" u="none" strike="noStrike" kern="0" cap="none" spc="0" normalizeH="0" baseline="24691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2" name="object 32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8442960" y="1107947"/>
            <a:ext cx="3459479" cy="4855464"/>
          </a:xfrm>
          <a:prstGeom prst="rect">
            <a:avLst/>
          </a:prstGeom>
        </p:spPr>
      </p:pic>
      <p:pic>
        <p:nvPicPr>
          <p:cNvPr id="33" name="object 33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8572500" y="1237486"/>
            <a:ext cx="3209544" cy="5192269"/>
          </a:xfrm>
          <a:prstGeom prst="rect">
            <a:avLst/>
          </a:prstGeom>
        </p:spPr>
      </p:pic>
      <p:sp>
        <p:nvSpPr>
          <p:cNvPr id="34" name="object 34"/>
          <p:cNvSpPr/>
          <p:nvPr/>
        </p:nvSpPr>
        <p:spPr>
          <a:xfrm>
            <a:off x="5625084" y="2387726"/>
            <a:ext cx="2696845" cy="0"/>
          </a:xfrm>
          <a:custGeom>
            <a:avLst/>
            <a:gdLst/>
            <a:ahLst/>
            <a:cxnLst/>
            <a:rect l="l" t="t" r="r" b="b"/>
            <a:pathLst>
              <a:path w="2696845">
                <a:moveTo>
                  <a:pt x="0" y="0"/>
                </a:moveTo>
                <a:lnTo>
                  <a:pt x="2696717" y="0"/>
                </a:lnTo>
              </a:path>
            </a:pathLst>
          </a:custGeom>
          <a:ln w="635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5" name="object 35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7871460" y="3246539"/>
            <a:ext cx="1114653" cy="1148168"/>
          </a:xfrm>
          <a:prstGeom prst="rect">
            <a:avLst/>
          </a:prstGeom>
        </p:spPr>
      </p:pic>
      <p:sp>
        <p:nvSpPr>
          <p:cNvPr id="36" name="object 36"/>
          <p:cNvSpPr/>
          <p:nvPr/>
        </p:nvSpPr>
        <p:spPr>
          <a:xfrm>
            <a:off x="8133588" y="3508628"/>
            <a:ext cx="607060" cy="640080"/>
          </a:xfrm>
          <a:custGeom>
            <a:avLst/>
            <a:gdLst/>
            <a:ahLst/>
            <a:cxnLst/>
            <a:rect l="l" t="t" r="r" b="b"/>
            <a:pathLst>
              <a:path w="607059" h="640079">
                <a:moveTo>
                  <a:pt x="303275" y="0"/>
                </a:moveTo>
                <a:lnTo>
                  <a:pt x="258427" y="3475"/>
                </a:lnTo>
                <a:lnTo>
                  <a:pt x="215632" y="13569"/>
                </a:lnTo>
                <a:lnTo>
                  <a:pt x="175359" y="29784"/>
                </a:lnTo>
                <a:lnTo>
                  <a:pt x="138074" y="51622"/>
                </a:lnTo>
                <a:lnTo>
                  <a:pt x="104245" y="78587"/>
                </a:lnTo>
                <a:lnTo>
                  <a:pt x="74339" y="110181"/>
                </a:lnTo>
                <a:lnTo>
                  <a:pt x="48822" y="145906"/>
                </a:lnTo>
                <a:lnTo>
                  <a:pt x="28163" y="185264"/>
                </a:lnTo>
                <a:lnTo>
                  <a:pt x="12828" y="227759"/>
                </a:lnTo>
                <a:lnTo>
                  <a:pt x="3285" y="272892"/>
                </a:lnTo>
                <a:lnTo>
                  <a:pt x="0" y="320167"/>
                </a:lnTo>
                <a:lnTo>
                  <a:pt x="3285" y="367435"/>
                </a:lnTo>
                <a:lnTo>
                  <a:pt x="12828" y="412552"/>
                </a:lnTo>
                <a:lnTo>
                  <a:pt x="28163" y="455022"/>
                </a:lnTo>
                <a:lnTo>
                  <a:pt x="48822" y="494351"/>
                </a:lnTo>
                <a:lnTo>
                  <a:pt x="74339" y="530042"/>
                </a:lnTo>
                <a:lnTo>
                  <a:pt x="104245" y="561601"/>
                </a:lnTo>
                <a:lnTo>
                  <a:pt x="138074" y="588533"/>
                </a:lnTo>
                <a:lnTo>
                  <a:pt x="175359" y="610342"/>
                </a:lnTo>
                <a:lnTo>
                  <a:pt x="215632" y="626533"/>
                </a:lnTo>
                <a:lnTo>
                  <a:pt x="258427" y="636610"/>
                </a:lnTo>
                <a:lnTo>
                  <a:pt x="303275" y="640080"/>
                </a:lnTo>
                <a:lnTo>
                  <a:pt x="303275" y="639826"/>
                </a:lnTo>
                <a:lnTo>
                  <a:pt x="348067" y="636362"/>
                </a:lnTo>
                <a:lnTo>
                  <a:pt x="390826" y="626299"/>
                </a:lnTo>
                <a:lnTo>
                  <a:pt x="431082" y="610129"/>
                </a:lnTo>
                <a:lnTo>
                  <a:pt x="468364" y="588343"/>
                </a:lnTo>
                <a:lnTo>
                  <a:pt x="502203" y="561433"/>
                </a:lnTo>
                <a:lnTo>
                  <a:pt x="532126" y="529891"/>
                </a:lnTo>
                <a:lnTo>
                  <a:pt x="557664" y="494209"/>
                </a:lnTo>
                <a:lnTo>
                  <a:pt x="578347" y="454878"/>
                </a:lnTo>
                <a:lnTo>
                  <a:pt x="593702" y="412391"/>
                </a:lnTo>
                <a:lnTo>
                  <a:pt x="603261" y="367238"/>
                </a:lnTo>
                <a:lnTo>
                  <a:pt x="606551" y="319913"/>
                </a:lnTo>
                <a:lnTo>
                  <a:pt x="603266" y="272644"/>
                </a:lnTo>
                <a:lnTo>
                  <a:pt x="593723" y="227527"/>
                </a:lnTo>
                <a:lnTo>
                  <a:pt x="578388" y="185057"/>
                </a:lnTo>
                <a:lnTo>
                  <a:pt x="557729" y="145728"/>
                </a:lnTo>
                <a:lnTo>
                  <a:pt x="532212" y="110037"/>
                </a:lnTo>
                <a:lnTo>
                  <a:pt x="502306" y="78478"/>
                </a:lnTo>
                <a:lnTo>
                  <a:pt x="468477" y="51546"/>
                </a:lnTo>
                <a:lnTo>
                  <a:pt x="431192" y="29737"/>
                </a:lnTo>
                <a:lnTo>
                  <a:pt x="390919" y="13546"/>
                </a:lnTo>
                <a:lnTo>
                  <a:pt x="348124" y="3469"/>
                </a:lnTo>
                <a:lnTo>
                  <a:pt x="303275" y="0"/>
                </a:lnTo>
                <a:close/>
              </a:path>
            </a:pathLst>
          </a:custGeom>
          <a:solidFill>
            <a:srgbClr val="0960AA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8133588" y="3508628"/>
            <a:ext cx="607060" cy="640080"/>
          </a:xfrm>
          <a:custGeom>
            <a:avLst/>
            <a:gdLst/>
            <a:ahLst/>
            <a:cxnLst/>
            <a:rect l="l" t="t" r="r" b="b"/>
            <a:pathLst>
              <a:path w="607059" h="640079">
                <a:moveTo>
                  <a:pt x="303275" y="640080"/>
                </a:moveTo>
                <a:lnTo>
                  <a:pt x="258427" y="636610"/>
                </a:lnTo>
                <a:lnTo>
                  <a:pt x="215632" y="626533"/>
                </a:lnTo>
                <a:lnTo>
                  <a:pt x="175359" y="610342"/>
                </a:lnTo>
                <a:lnTo>
                  <a:pt x="138074" y="588533"/>
                </a:lnTo>
                <a:lnTo>
                  <a:pt x="104245" y="561601"/>
                </a:lnTo>
                <a:lnTo>
                  <a:pt x="74339" y="530042"/>
                </a:lnTo>
                <a:lnTo>
                  <a:pt x="48822" y="494351"/>
                </a:lnTo>
                <a:lnTo>
                  <a:pt x="28163" y="455022"/>
                </a:lnTo>
                <a:lnTo>
                  <a:pt x="12828" y="412552"/>
                </a:lnTo>
                <a:lnTo>
                  <a:pt x="3285" y="367435"/>
                </a:lnTo>
                <a:lnTo>
                  <a:pt x="0" y="320167"/>
                </a:lnTo>
                <a:lnTo>
                  <a:pt x="3285" y="272892"/>
                </a:lnTo>
                <a:lnTo>
                  <a:pt x="12828" y="227759"/>
                </a:lnTo>
                <a:lnTo>
                  <a:pt x="28163" y="185264"/>
                </a:lnTo>
                <a:lnTo>
                  <a:pt x="48822" y="145906"/>
                </a:lnTo>
                <a:lnTo>
                  <a:pt x="74339" y="110181"/>
                </a:lnTo>
                <a:lnTo>
                  <a:pt x="104245" y="78587"/>
                </a:lnTo>
                <a:lnTo>
                  <a:pt x="138074" y="51622"/>
                </a:lnTo>
                <a:lnTo>
                  <a:pt x="175359" y="29784"/>
                </a:lnTo>
                <a:lnTo>
                  <a:pt x="215632" y="13569"/>
                </a:lnTo>
                <a:lnTo>
                  <a:pt x="258427" y="3475"/>
                </a:lnTo>
                <a:lnTo>
                  <a:pt x="303275" y="0"/>
                </a:lnTo>
                <a:lnTo>
                  <a:pt x="348124" y="3469"/>
                </a:lnTo>
                <a:lnTo>
                  <a:pt x="390919" y="13546"/>
                </a:lnTo>
                <a:lnTo>
                  <a:pt x="431192" y="29737"/>
                </a:lnTo>
                <a:lnTo>
                  <a:pt x="468477" y="51546"/>
                </a:lnTo>
                <a:lnTo>
                  <a:pt x="502306" y="78478"/>
                </a:lnTo>
                <a:lnTo>
                  <a:pt x="532212" y="110037"/>
                </a:lnTo>
                <a:lnTo>
                  <a:pt x="557729" y="145728"/>
                </a:lnTo>
                <a:lnTo>
                  <a:pt x="578388" y="185057"/>
                </a:lnTo>
                <a:lnTo>
                  <a:pt x="593723" y="227527"/>
                </a:lnTo>
                <a:lnTo>
                  <a:pt x="603266" y="272644"/>
                </a:lnTo>
                <a:lnTo>
                  <a:pt x="606551" y="319913"/>
                </a:lnTo>
                <a:lnTo>
                  <a:pt x="603261" y="367238"/>
                </a:lnTo>
                <a:lnTo>
                  <a:pt x="593702" y="412391"/>
                </a:lnTo>
                <a:lnTo>
                  <a:pt x="578347" y="454878"/>
                </a:lnTo>
                <a:lnTo>
                  <a:pt x="557664" y="494209"/>
                </a:lnTo>
                <a:lnTo>
                  <a:pt x="532126" y="529891"/>
                </a:lnTo>
                <a:lnTo>
                  <a:pt x="502203" y="561433"/>
                </a:lnTo>
                <a:lnTo>
                  <a:pt x="468364" y="588343"/>
                </a:lnTo>
                <a:lnTo>
                  <a:pt x="431082" y="610129"/>
                </a:lnTo>
                <a:lnTo>
                  <a:pt x="390826" y="626299"/>
                </a:lnTo>
                <a:lnTo>
                  <a:pt x="348067" y="636362"/>
                </a:lnTo>
                <a:lnTo>
                  <a:pt x="303275" y="639826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8330215" y="3648837"/>
            <a:ext cx="212090" cy="360045"/>
          </a:xfrm>
          <a:custGeom>
            <a:avLst/>
            <a:gdLst/>
            <a:ahLst/>
            <a:cxnLst/>
            <a:rect l="l" t="t" r="r" b="b"/>
            <a:pathLst>
              <a:path w="212090" h="360045">
                <a:moveTo>
                  <a:pt x="30257" y="0"/>
                </a:moveTo>
                <a:lnTo>
                  <a:pt x="18867" y="2190"/>
                </a:lnTo>
                <a:lnTo>
                  <a:pt x="8858" y="8762"/>
                </a:lnTo>
                <a:lnTo>
                  <a:pt x="2214" y="18676"/>
                </a:lnTo>
                <a:lnTo>
                  <a:pt x="0" y="29972"/>
                </a:lnTo>
                <a:lnTo>
                  <a:pt x="2214" y="41267"/>
                </a:lnTo>
                <a:lnTo>
                  <a:pt x="8858" y="51180"/>
                </a:lnTo>
                <a:lnTo>
                  <a:pt x="138779" y="179832"/>
                </a:lnTo>
                <a:lnTo>
                  <a:pt x="8858" y="308482"/>
                </a:lnTo>
                <a:lnTo>
                  <a:pt x="2214" y="318396"/>
                </a:lnTo>
                <a:lnTo>
                  <a:pt x="0" y="329692"/>
                </a:lnTo>
                <a:lnTo>
                  <a:pt x="2214" y="340987"/>
                </a:lnTo>
                <a:lnTo>
                  <a:pt x="8858" y="350900"/>
                </a:lnTo>
                <a:lnTo>
                  <a:pt x="14700" y="356743"/>
                </a:lnTo>
                <a:lnTo>
                  <a:pt x="22447" y="359663"/>
                </a:lnTo>
                <a:lnTo>
                  <a:pt x="37941" y="359663"/>
                </a:lnTo>
                <a:lnTo>
                  <a:pt x="45688" y="356743"/>
                </a:lnTo>
                <a:lnTo>
                  <a:pt x="208883" y="195199"/>
                </a:lnTo>
                <a:lnTo>
                  <a:pt x="211804" y="187451"/>
                </a:lnTo>
                <a:lnTo>
                  <a:pt x="211804" y="179832"/>
                </a:lnTo>
                <a:lnTo>
                  <a:pt x="211804" y="172212"/>
                </a:lnTo>
                <a:lnTo>
                  <a:pt x="208883" y="164464"/>
                </a:lnTo>
                <a:lnTo>
                  <a:pt x="51657" y="8762"/>
                </a:lnTo>
                <a:lnTo>
                  <a:pt x="41648" y="2190"/>
                </a:lnTo>
                <a:lnTo>
                  <a:pt x="30257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8330215" y="3648837"/>
            <a:ext cx="212090" cy="360045"/>
          </a:xfrm>
          <a:custGeom>
            <a:avLst/>
            <a:gdLst/>
            <a:ahLst/>
            <a:cxnLst/>
            <a:rect l="l" t="t" r="r" b="b"/>
            <a:pathLst>
              <a:path w="212090" h="360045">
                <a:moveTo>
                  <a:pt x="211804" y="179832"/>
                </a:moveTo>
                <a:lnTo>
                  <a:pt x="211804" y="187451"/>
                </a:lnTo>
                <a:lnTo>
                  <a:pt x="208883" y="195199"/>
                </a:lnTo>
                <a:lnTo>
                  <a:pt x="202914" y="201040"/>
                </a:lnTo>
                <a:lnTo>
                  <a:pt x="51657" y="350900"/>
                </a:lnTo>
                <a:lnTo>
                  <a:pt x="45688" y="356743"/>
                </a:lnTo>
                <a:lnTo>
                  <a:pt x="37941" y="359663"/>
                </a:lnTo>
                <a:lnTo>
                  <a:pt x="30194" y="359663"/>
                </a:lnTo>
                <a:lnTo>
                  <a:pt x="22447" y="359663"/>
                </a:lnTo>
                <a:lnTo>
                  <a:pt x="14700" y="356743"/>
                </a:lnTo>
                <a:lnTo>
                  <a:pt x="8858" y="350900"/>
                </a:lnTo>
                <a:lnTo>
                  <a:pt x="2214" y="340987"/>
                </a:lnTo>
                <a:lnTo>
                  <a:pt x="0" y="329692"/>
                </a:lnTo>
                <a:lnTo>
                  <a:pt x="2214" y="318396"/>
                </a:lnTo>
                <a:lnTo>
                  <a:pt x="8858" y="308482"/>
                </a:lnTo>
                <a:lnTo>
                  <a:pt x="138779" y="179832"/>
                </a:lnTo>
                <a:lnTo>
                  <a:pt x="8858" y="51180"/>
                </a:lnTo>
                <a:lnTo>
                  <a:pt x="2214" y="41267"/>
                </a:lnTo>
                <a:lnTo>
                  <a:pt x="0" y="29972"/>
                </a:lnTo>
                <a:lnTo>
                  <a:pt x="2214" y="18676"/>
                </a:lnTo>
                <a:lnTo>
                  <a:pt x="8858" y="8762"/>
                </a:lnTo>
                <a:lnTo>
                  <a:pt x="18867" y="2190"/>
                </a:lnTo>
                <a:lnTo>
                  <a:pt x="30257" y="0"/>
                </a:lnTo>
                <a:lnTo>
                  <a:pt x="41648" y="2190"/>
                </a:lnTo>
                <a:lnTo>
                  <a:pt x="51657" y="8762"/>
                </a:lnTo>
                <a:lnTo>
                  <a:pt x="202914" y="158623"/>
                </a:lnTo>
                <a:lnTo>
                  <a:pt x="208883" y="164464"/>
                </a:lnTo>
                <a:lnTo>
                  <a:pt x="211804" y="172212"/>
                </a:lnTo>
                <a:lnTo>
                  <a:pt x="211804" y="179832"/>
                </a:lnTo>
                <a:close/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8878016" y="2086100"/>
            <a:ext cx="2767171" cy="1650237"/>
          </a:xfrm>
          <a:custGeom>
            <a:avLst/>
            <a:gdLst/>
            <a:ahLst/>
            <a:cxnLst/>
            <a:rect l="l" t="t" r="r" b="b"/>
            <a:pathLst>
              <a:path w="2204084" h="1236345">
                <a:moveTo>
                  <a:pt x="1101852" y="0"/>
                </a:moveTo>
                <a:lnTo>
                  <a:pt x="1041391" y="914"/>
                </a:lnTo>
                <a:lnTo>
                  <a:pt x="981784" y="3626"/>
                </a:lnTo>
                <a:lnTo>
                  <a:pt x="923114" y="8089"/>
                </a:lnTo>
                <a:lnTo>
                  <a:pt x="865464" y="14256"/>
                </a:lnTo>
                <a:lnTo>
                  <a:pt x="808919" y="22078"/>
                </a:lnTo>
                <a:lnTo>
                  <a:pt x="753563" y="31510"/>
                </a:lnTo>
                <a:lnTo>
                  <a:pt x="699479" y="42503"/>
                </a:lnTo>
                <a:lnTo>
                  <a:pt x="646752" y="55012"/>
                </a:lnTo>
                <a:lnTo>
                  <a:pt x="595466" y="68988"/>
                </a:lnTo>
                <a:lnTo>
                  <a:pt x="545704" y="84384"/>
                </a:lnTo>
                <a:lnTo>
                  <a:pt x="497552" y="101154"/>
                </a:lnTo>
                <a:lnTo>
                  <a:pt x="451091" y="119249"/>
                </a:lnTo>
                <a:lnTo>
                  <a:pt x="406408" y="138624"/>
                </a:lnTo>
                <a:lnTo>
                  <a:pt x="363585" y="159231"/>
                </a:lnTo>
                <a:lnTo>
                  <a:pt x="322706" y="181022"/>
                </a:lnTo>
                <a:lnTo>
                  <a:pt x="283857" y="203951"/>
                </a:lnTo>
                <a:lnTo>
                  <a:pt x="247120" y="227970"/>
                </a:lnTo>
                <a:lnTo>
                  <a:pt x="212579" y="253032"/>
                </a:lnTo>
                <a:lnTo>
                  <a:pt x="180319" y="279091"/>
                </a:lnTo>
                <a:lnTo>
                  <a:pt x="150424" y="306098"/>
                </a:lnTo>
                <a:lnTo>
                  <a:pt x="122977" y="334007"/>
                </a:lnTo>
                <a:lnTo>
                  <a:pt x="75765" y="392341"/>
                </a:lnTo>
                <a:lnTo>
                  <a:pt x="39355" y="453716"/>
                </a:lnTo>
                <a:lnTo>
                  <a:pt x="14420" y="517754"/>
                </a:lnTo>
                <a:lnTo>
                  <a:pt x="1630" y="584080"/>
                </a:lnTo>
                <a:lnTo>
                  <a:pt x="0" y="617982"/>
                </a:lnTo>
                <a:lnTo>
                  <a:pt x="1630" y="651883"/>
                </a:lnTo>
                <a:lnTo>
                  <a:pt x="14420" y="718209"/>
                </a:lnTo>
                <a:lnTo>
                  <a:pt x="39355" y="782247"/>
                </a:lnTo>
                <a:lnTo>
                  <a:pt x="75765" y="843622"/>
                </a:lnTo>
                <a:lnTo>
                  <a:pt x="122977" y="901956"/>
                </a:lnTo>
                <a:lnTo>
                  <a:pt x="150424" y="929865"/>
                </a:lnTo>
                <a:lnTo>
                  <a:pt x="180319" y="956872"/>
                </a:lnTo>
                <a:lnTo>
                  <a:pt x="212579" y="982931"/>
                </a:lnTo>
                <a:lnTo>
                  <a:pt x="247120" y="1007993"/>
                </a:lnTo>
                <a:lnTo>
                  <a:pt x="283857" y="1032012"/>
                </a:lnTo>
                <a:lnTo>
                  <a:pt x="322706" y="1054941"/>
                </a:lnTo>
                <a:lnTo>
                  <a:pt x="363585" y="1076732"/>
                </a:lnTo>
                <a:lnTo>
                  <a:pt x="406408" y="1097339"/>
                </a:lnTo>
                <a:lnTo>
                  <a:pt x="451091" y="1116714"/>
                </a:lnTo>
                <a:lnTo>
                  <a:pt x="497552" y="1134809"/>
                </a:lnTo>
                <a:lnTo>
                  <a:pt x="545704" y="1151579"/>
                </a:lnTo>
                <a:lnTo>
                  <a:pt x="595466" y="1166975"/>
                </a:lnTo>
                <a:lnTo>
                  <a:pt x="646752" y="1180951"/>
                </a:lnTo>
                <a:lnTo>
                  <a:pt x="699479" y="1193460"/>
                </a:lnTo>
                <a:lnTo>
                  <a:pt x="753563" y="1204453"/>
                </a:lnTo>
                <a:lnTo>
                  <a:pt x="808919" y="1213885"/>
                </a:lnTo>
                <a:lnTo>
                  <a:pt x="865464" y="1221707"/>
                </a:lnTo>
                <a:lnTo>
                  <a:pt x="923114" y="1227874"/>
                </a:lnTo>
                <a:lnTo>
                  <a:pt x="981784" y="1232337"/>
                </a:lnTo>
                <a:lnTo>
                  <a:pt x="1041391" y="1235049"/>
                </a:lnTo>
                <a:lnTo>
                  <a:pt x="1101852" y="1235964"/>
                </a:lnTo>
                <a:lnTo>
                  <a:pt x="1162312" y="1235049"/>
                </a:lnTo>
                <a:lnTo>
                  <a:pt x="1221919" y="1232337"/>
                </a:lnTo>
                <a:lnTo>
                  <a:pt x="1280589" y="1227874"/>
                </a:lnTo>
                <a:lnTo>
                  <a:pt x="1338239" y="1221707"/>
                </a:lnTo>
                <a:lnTo>
                  <a:pt x="1394784" y="1213885"/>
                </a:lnTo>
                <a:lnTo>
                  <a:pt x="1450140" y="1204453"/>
                </a:lnTo>
                <a:lnTo>
                  <a:pt x="1504224" y="1193460"/>
                </a:lnTo>
                <a:lnTo>
                  <a:pt x="1556951" y="1180951"/>
                </a:lnTo>
                <a:lnTo>
                  <a:pt x="1608237" y="1166975"/>
                </a:lnTo>
                <a:lnTo>
                  <a:pt x="1657999" y="1151579"/>
                </a:lnTo>
                <a:lnTo>
                  <a:pt x="1706151" y="1134809"/>
                </a:lnTo>
                <a:lnTo>
                  <a:pt x="1752612" y="1116714"/>
                </a:lnTo>
                <a:lnTo>
                  <a:pt x="1797295" y="1097339"/>
                </a:lnTo>
                <a:lnTo>
                  <a:pt x="1840118" y="1076732"/>
                </a:lnTo>
                <a:lnTo>
                  <a:pt x="1880997" y="1054941"/>
                </a:lnTo>
                <a:lnTo>
                  <a:pt x="1919846" y="1032012"/>
                </a:lnTo>
                <a:lnTo>
                  <a:pt x="1956583" y="1007993"/>
                </a:lnTo>
                <a:lnTo>
                  <a:pt x="1991124" y="982931"/>
                </a:lnTo>
                <a:lnTo>
                  <a:pt x="2023384" y="956872"/>
                </a:lnTo>
                <a:lnTo>
                  <a:pt x="2053279" y="929865"/>
                </a:lnTo>
                <a:lnTo>
                  <a:pt x="2080726" y="901956"/>
                </a:lnTo>
                <a:lnTo>
                  <a:pt x="2127938" y="843622"/>
                </a:lnTo>
                <a:lnTo>
                  <a:pt x="2164348" y="782247"/>
                </a:lnTo>
                <a:lnTo>
                  <a:pt x="2189283" y="718209"/>
                </a:lnTo>
                <a:lnTo>
                  <a:pt x="2202073" y="651883"/>
                </a:lnTo>
                <a:lnTo>
                  <a:pt x="2203704" y="617982"/>
                </a:lnTo>
                <a:lnTo>
                  <a:pt x="2202073" y="584080"/>
                </a:lnTo>
                <a:lnTo>
                  <a:pt x="2189283" y="517754"/>
                </a:lnTo>
                <a:lnTo>
                  <a:pt x="2164348" y="453716"/>
                </a:lnTo>
                <a:lnTo>
                  <a:pt x="2127938" y="392341"/>
                </a:lnTo>
                <a:lnTo>
                  <a:pt x="2080726" y="334007"/>
                </a:lnTo>
                <a:lnTo>
                  <a:pt x="2053279" y="306098"/>
                </a:lnTo>
                <a:lnTo>
                  <a:pt x="2023384" y="279091"/>
                </a:lnTo>
                <a:lnTo>
                  <a:pt x="1991124" y="253032"/>
                </a:lnTo>
                <a:lnTo>
                  <a:pt x="1956583" y="227970"/>
                </a:lnTo>
                <a:lnTo>
                  <a:pt x="1919846" y="203951"/>
                </a:lnTo>
                <a:lnTo>
                  <a:pt x="1880997" y="181022"/>
                </a:lnTo>
                <a:lnTo>
                  <a:pt x="1840118" y="159231"/>
                </a:lnTo>
                <a:lnTo>
                  <a:pt x="1797295" y="138624"/>
                </a:lnTo>
                <a:lnTo>
                  <a:pt x="1752612" y="119249"/>
                </a:lnTo>
                <a:lnTo>
                  <a:pt x="1706151" y="101154"/>
                </a:lnTo>
                <a:lnTo>
                  <a:pt x="1657999" y="84384"/>
                </a:lnTo>
                <a:lnTo>
                  <a:pt x="1608237" y="68988"/>
                </a:lnTo>
                <a:lnTo>
                  <a:pt x="1556951" y="55012"/>
                </a:lnTo>
                <a:lnTo>
                  <a:pt x="1504224" y="42503"/>
                </a:lnTo>
                <a:lnTo>
                  <a:pt x="1450140" y="31510"/>
                </a:lnTo>
                <a:lnTo>
                  <a:pt x="1394784" y="22078"/>
                </a:lnTo>
                <a:lnTo>
                  <a:pt x="1338239" y="14256"/>
                </a:lnTo>
                <a:lnTo>
                  <a:pt x="1280589" y="8089"/>
                </a:lnTo>
                <a:lnTo>
                  <a:pt x="1221919" y="3626"/>
                </a:lnTo>
                <a:lnTo>
                  <a:pt x="1162312" y="914"/>
                </a:lnTo>
                <a:lnTo>
                  <a:pt x="1101852" y="0"/>
                </a:lnTo>
                <a:close/>
              </a:path>
            </a:pathLst>
          </a:custGeom>
          <a:solidFill>
            <a:srgbClr val="C0E0FB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0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9935733" y="2409686"/>
            <a:ext cx="682981" cy="856645"/>
          </a:xfrm>
          <a:prstGeom prst="rect">
            <a:avLst/>
          </a:prstGeom>
        </p:spPr>
        <p:txBody>
          <a:bodyPr vert="horz" wrap="square" lIns="0" tIns="30480" rIns="0" bIns="0" rtlCol="0">
            <a:spAutoFit/>
          </a:bodyPr>
          <a:lstStyle/>
          <a:p>
            <a:pPr marL="67310" marR="0" lvl="0" indent="0" algn="l" defTabSz="914400" rtl="0" eaLnBrk="1" fontAlgn="auto" latinLnBrk="0" hangingPunct="1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-25" normalizeH="0" baseline="0" noProof="0" dirty="0">
                <a:ln>
                  <a:noFill/>
                </a:ln>
                <a:solidFill>
                  <a:srgbClr val="0960AA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ROI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-25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&gt; 5x</a:t>
            </a:r>
            <a:endParaRPr kumimoji="0" lang="en-US" sz="2800" b="0" i="0" u="none" strike="noStrike" kern="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object 21">
            <a:extLst>
              <a:ext uri="{FF2B5EF4-FFF2-40B4-BE49-F238E27FC236}">
                <a16:creationId xmlns:a16="http://schemas.microsoft.com/office/drawing/2014/main" id="{DF14DE44-6586-2AB1-F8B4-D8112C3FAC26}"/>
              </a:ext>
            </a:extLst>
          </p:cNvPr>
          <p:cNvSpPr txBox="1"/>
          <p:nvPr/>
        </p:nvSpPr>
        <p:spPr>
          <a:xfrm>
            <a:off x="5704331" y="2602130"/>
            <a:ext cx="2617597" cy="560795"/>
          </a:xfrm>
          <a:prstGeom prst="rect">
            <a:avLst/>
          </a:prstGeom>
        </p:spPr>
        <p:txBody>
          <a:bodyPr vert="horz" wrap="square" lIns="0" tIns="10160" rIns="0" bIns="0" rtlCol="0">
            <a:spAutoFit/>
          </a:bodyPr>
          <a:lstStyle/>
          <a:p>
            <a:pPr marL="12700" marR="5080" lvl="0" indent="178435" algn="l" defTabSz="914400" rtl="0" eaLnBrk="1" fontAlgn="auto" latinLnBrk="0" hangingPunct="1">
              <a:lnSpc>
                <a:spcPct val="100699"/>
              </a:lnSpc>
              <a:spcBef>
                <a:spcPts val="8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-1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&gt; 40K tons of CO₂ saved (last 20 months)</a:t>
            </a:r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AC8FEB70-AA8C-8A48-AD4A-DF5964810EF2}"/>
              </a:ext>
            </a:extLst>
          </p:cNvPr>
          <p:cNvSpPr txBox="1">
            <a:spLocks/>
          </p:cNvSpPr>
          <p:nvPr/>
        </p:nvSpPr>
        <p:spPr>
          <a:xfrm>
            <a:off x="11674329" y="6498429"/>
            <a:ext cx="406694" cy="359571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/>
          <a:lstStyle>
            <a:defPPr>
              <a:defRPr lang="en-GR"/>
            </a:defPPr>
            <a:lvl1pPr marL="0" algn="r" defTabSz="914400" rtl="0" eaLnBrk="1" latinLnBrk="0" hangingPunct="1">
              <a:defRPr sz="1100" b="1" i="0" kern="1200">
                <a:solidFill>
                  <a:srgbClr val="8A684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75975C-DC16-EA43-A4FB-DF56EBC8F994}" type="slidenum">
              <a:rPr kumimoji="0" lang="en-GR" sz="800" i="0" u="none" strike="noStrike" kern="1200" cap="none" spc="0" normalizeH="0" baseline="0" noProof="0" smtClean="0">
                <a:ln>
                  <a:noFill/>
                </a:ln>
                <a:solidFill>
                  <a:srgbClr val="22326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R" sz="800" i="0" u="none" strike="noStrike" kern="1200" cap="none" spc="0" normalizeH="0" baseline="0" noProof="0">
              <a:ln>
                <a:noFill/>
              </a:ln>
              <a:solidFill>
                <a:srgbClr val="22326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object 40">
            <a:extLst>
              <a:ext uri="{FF2B5EF4-FFF2-40B4-BE49-F238E27FC236}">
                <a16:creationId xmlns:a16="http://schemas.microsoft.com/office/drawing/2014/main" id="{8172A75A-369E-DD81-AF9C-30BE46B94C39}"/>
              </a:ext>
            </a:extLst>
          </p:cNvPr>
          <p:cNvSpPr/>
          <p:nvPr/>
        </p:nvSpPr>
        <p:spPr>
          <a:xfrm>
            <a:off x="8876620" y="3956471"/>
            <a:ext cx="2767171" cy="1650237"/>
          </a:xfrm>
          <a:custGeom>
            <a:avLst/>
            <a:gdLst/>
            <a:ahLst/>
            <a:cxnLst/>
            <a:rect l="l" t="t" r="r" b="b"/>
            <a:pathLst>
              <a:path w="2204084" h="1236345">
                <a:moveTo>
                  <a:pt x="1101852" y="0"/>
                </a:moveTo>
                <a:lnTo>
                  <a:pt x="1041391" y="914"/>
                </a:lnTo>
                <a:lnTo>
                  <a:pt x="981784" y="3626"/>
                </a:lnTo>
                <a:lnTo>
                  <a:pt x="923114" y="8089"/>
                </a:lnTo>
                <a:lnTo>
                  <a:pt x="865464" y="14256"/>
                </a:lnTo>
                <a:lnTo>
                  <a:pt x="808919" y="22078"/>
                </a:lnTo>
                <a:lnTo>
                  <a:pt x="753563" y="31510"/>
                </a:lnTo>
                <a:lnTo>
                  <a:pt x="699479" y="42503"/>
                </a:lnTo>
                <a:lnTo>
                  <a:pt x="646752" y="55012"/>
                </a:lnTo>
                <a:lnTo>
                  <a:pt x="595466" y="68988"/>
                </a:lnTo>
                <a:lnTo>
                  <a:pt x="545704" y="84384"/>
                </a:lnTo>
                <a:lnTo>
                  <a:pt x="497552" y="101154"/>
                </a:lnTo>
                <a:lnTo>
                  <a:pt x="451091" y="119249"/>
                </a:lnTo>
                <a:lnTo>
                  <a:pt x="406408" y="138624"/>
                </a:lnTo>
                <a:lnTo>
                  <a:pt x="363585" y="159231"/>
                </a:lnTo>
                <a:lnTo>
                  <a:pt x="322706" y="181022"/>
                </a:lnTo>
                <a:lnTo>
                  <a:pt x="283857" y="203951"/>
                </a:lnTo>
                <a:lnTo>
                  <a:pt x="247120" y="227970"/>
                </a:lnTo>
                <a:lnTo>
                  <a:pt x="212579" y="253032"/>
                </a:lnTo>
                <a:lnTo>
                  <a:pt x="180319" y="279091"/>
                </a:lnTo>
                <a:lnTo>
                  <a:pt x="150424" y="306098"/>
                </a:lnTo>
                <a:lnTo>
                  <a:pt x="122977" y="334007"/>
                </a:lnTo>
                <a:lnTo>
                  <a:pt x="75765" y="392341"/>
                </a:lnTo>
                <a:lnTo>
                  <a:pt x="39355" y="453716"/>
                </a:lnTo>
                <a:lnTo>
                  <a:pt x="14420" y="517754"/>
                </a:lnTo>
                <a:lnTo>
                  <a:pt x="1630" y="584080"/>
                </a:lnTo>
                <a:lnTo>
                  <a:pt x="0" y="617982"/>
                </a:lnTo>
                <a:lnTo>
                  <a:pt x="1630" y="651883"/>
                </a:lnTo>
                <a:lnTo>
                  <a:pt x="14420" y="718209"/>
                </a:lnTo>
                <a:lnTo>
                  <a:pt x="39355" y="782247"/>
                </a:lnTo>
                <a:lnTo>
                  <a:pt x="75765" y="843622"/>
                </a:lnTo>
                <a:lnTo>
                  <a:pt x="122977" y="901956"/>
                </a:lnTo>
                <a:lnTo>
                  <a:pt x="150424" y="929865"/>
                </a:lnTo>
                <a:lnTo>
                  <a:pt x="180319" y="956872"/>
                </a:lnTo>
                <a:lnTo>
                  <a:pt x="212579" y="982931"/>
                </a:lnTo>
                <a:lnTo>
                  <a:pt x="247120" y="1007993"/>
                </a:lnTo>
                <a:lnTo>
                  <a:pt x="283857" y="1032012"/>
                </a:lnTo>
                <a:lnTo>
                  <a:pt x="322706" y="1054941"/>
                </a:lnTo>
                <a:lnTo>
                  <a:pt x="363585" y="1076732"/>
                </a:lnTo>
                <a:lnTo>
                  <a:pt x="406408" y="1097339"/>
                </a:lnTo>
                <a:lnTo>
                  <a:pt x="451091" y="1116714"/>
                </a:lnTo>
                <a:lnTo>
                  <a:pt x="497552" y="1134809"/>
                </a:lnTo>
                <a:lnTo>
                  <a:pt x="545704" y="1151579"/>
                </a:lnTo>
                <a:lnTo>
                  <a:pt x="595466" y="1166975"/>
                </a:lnTo>
                <a:lnTo>
                  <a:pt x="646752" y="1180951"/>
                </a:lnTo>
                <a:lnTo>
                  <a:pt x="699479" y="1193460"/>
                </a:lnTo>
                <a:lnTo>
                  <a:pt x="753563" y="1204453"/>
                </a:lnTo>
                <a:lnTo>
                  <a:pt x="808919" y="1213885"/>
                </a:lnTo>
                <a:lnTo>
                  <a:pt x="865464" y="1221707"/>
                </a:lnTo>
                <a:lnTo>
                  <a:pt x="923114" y="1227874"/>
                </a:lnTo>
                <a:lnTo>
                  <a:pt x="981784" y="1232337"/>
                </a:lnTo>
                <a:lnTo>
                  <a:pt x="1041391" y="1235049"/>
                </a:lnTo>
                <a:lnTo>
                  <a:pt x="1101852" y="1235964"/>
                </a:lnTo>
                <a:lnTo>
                  <a:pt x="1162312" y="1235049"/>
                </a:lnTo>
                <a:lnTo>
                  <a:pt x="1221919" y="1232337"/>
                </a:lnTo>
                <a:lnTo>
                  <a:pt x="1280589" y="1227874"/>
                </a:lnTo>
                <a:lnTo>
                  <a:pt x="1338239" y="1221707"/>
                </a:lnTo>
                <a:lnTo>
                  <a:pt x="1394784" y="1213885"/>
                </a:lnTo>
                <a:lnTo>
                  <a:pt x="1450140" y="1204453"/>
                </a:lnTo>
                <a:lnTo>
                  <a:pt x="1504224" y="1193460"/>
                </a:lnTo>
                <a:lnTo>
                  <a:pt x="1556951" y="1180951"/>
                </a:lnTo>
                <a:lnTo>
                  <a:pt x="1608237" y="1166975"/>
                </a:lnTo>
                <a:lnTo>
                  <a:pt x="1657999" y="1151579"/>
                </a:lnTo>
                <a:lnTo>
                  <a:pt x="1706151" y="1134809"/>
                </a:lnTo>
                <a:lnTo>
                  <a:pt x="1752612" y="1116714"/>
                </a:lnTo>
                <a:lnTo>
                  <a:pt x="1797295" y="1097339"/>
                </a:lnTo>
                <a:lnTo>
                  <a:pt x="1840118" y="1076732"/>
                </a:lnTo>
                <a:lnTo>
                  <a:pt x="1880997" y="1054941"/>
                </a:lnTo>
                <a:lnTo>
                  <a:pt x="1919846" y="1032012"/>
                </a:lnTo>
                <a:lnTo>
                  <a:pt x="1956583" y="1007993"/>
                </a:lnTo>
                <a:lnTo>
                  <a:pt x="1991124" y="982931"/>
                </a:lnTo>
                <a:lnTo>
                  <a:pt x="2023384" y="956872"/>
                </a:lnTo>
                <a:lnTo>
                  <a:pt x="2053279" y="929865"/>
                </a:lnTo>
                <a:lnTo>
                  <a:pt x="2080726" y="901956"/>
                </a:lnTo>
                <a:lnTo>
                  <a:pt x="2127938" y="843622"/>
                </a:lnTo>
                <a:lnTo>
                  <a:pt x="2164348" y="782247"/>
                </a:lnTo>
                <a:lnTo>
                  <a:pt x="2189283" y="718209"/>
                </a:lnTo>
                <a:lnTo>
                  <a:pt x="2202073" y="651883"/>
                </a:lnTo>
                <a:lnTo>
                  <a:pt x="2203704" y="617982"/>
                </a:lnTo>
                <a:lnTo>
                  <a:pt x="2202073" y="584080"/>
                </a:lnTo>
                <a:lnTo>
                  <a:pt x="2189283" y="517754"/>
                </a:lnTo>
                <a:lnTo>
                  <a:pt x="2164348" y="453716"/>
                </a:lnTo>
                <a:lnTo>
                  <a:pt x="2127938" y="392341"/>
                </a:lnTo>
                <a:lnTo>
                  <a:pt x="2080726" y="334007"/>
                </a:lnTo>
                <a:lnTo>
                  <a:pt x="2053279" y="306098"/>
                </a:lnTo>
                <a:lnTo>
                  <a:pt x="2023384" y="279091"/>
                </a:lnTo>
                <a:lnTo>
                  <a:pt x="1991124" y="253032"/>
                </a:lnTo>
                <a:lnTo>
                  <a:pt x="1956583" y="227970"/>
                </a:lnTo>
                <a:lnTo>
                  <a:pt x="1919846" y="203951"/>
                </a:lnTo>
                <a:lnTo>
                  <a:pt x="1880997" y="181022"/>
                </a:lnTo>
                <a:lnTo>
                  <a:pt x="1840118" y="159231"/>
                </a:lnTo>
                <a:lnTo>
                  <a:pt x="1797295" y="138624"/>
                </a:lnTo>
                <a:lnTo>
                  <a:pt x="1752612" y="119249"/>
                </a:lnTo>
                <a:lnTo>
                  <a:pt x="1706151" y="101154"/>
                </a:lnTo>
                <a:lnTo>
                  <a:pt x="1657999" y="84384"/>
                </a:lnTo>
                <a:lnTo>
                  <a:pt x="1608237" y="68988"/>
                </a:lnTo>
                <a:lnTo>
                  <a:pt x="1556951" y="55012"/>
                </a:lnTo>
                <a:lnTo>
                  <a:pt x="1504224" y="42503"/>
                </a:lnTo>
                <a:lnTo>
                  <a:pt x="1450140" y="31510"/>
                </a:lnTo>
                <a:lnTo>
                  <a:pt x="1394784" y="22078"/>
                </a:lnTo>
                <a:lnTo>
                  <a:pt x="1338239" y="14256"/>
                </a:lnTo>
                <a:lnTo>
                  <a:pt x="1280589" y="8089"/>
                </a:lnTo>
                <a:lnTo>
                  <a:pt x="1221919" y="3626"/>
                </a:lnTo>
                <a:lnTo>
                  <a:pt x="1162312" y="914"/>
                </a:lnTo>
                <a:lnTo>
                  <a:pt x="1101852" y="0"/>
                </a:lnTo>
                <a:close/>
              </a:path>
            </a:pathLst>
          </a:custGeom>
          <a:solidFill>
            <a:srgbClr val="C0E0FB"/>
          </a:solidFill>
        </p:spPr>
        <p:txBody>
          <a:bodyPr wrap="square" lIns="0" tIns="0" rIns="0" bIns="0" rtlCol="0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2400" b="1" kern="0" spc="-25" dirty="0">
              <a:solidFill>
                <a:srgbClr val="0960AA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400" b="1" kern="0" spc="-25" dirty="0">
                <a:solidFill>
                  <a:srgbClr val="0960AA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 end-to-end digital cement lines (US &amp; Europe)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9DD121-1DDF-C14D-FBF6-BF124A3EE2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D77587BA-A08C-047C-977D-A6BD5B1E5B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6763" y="489584"/>
            <a:ext cx="10658474" cy="498598"/>
          </a:xfrm>
        </p:spPr>
        <p:txBody>
          <a:bodyPr/>
          <a:lstStyle/>
          <a:p>
            <a:r>
              <a:rPr lang="en-US" dirty="0"/>
              <a:t>TITAN’s digital transformation targets</a:t>
            </a:r>
            <a:endParaRPr lang="el-GR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8F11465-CD6C-E2DF-9082-293AE8C238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444" r="-1" b="7717"/>
          <a:stretch/>
        </p:blipFill>
        <p:spPr>
          <a:xfrm>
            <a:off x="568329" y="1525500"/>
            <a:ext cx="6945423" cy="4528135"/>
          </a:xfrm>
          <a:prstGeom prst="rect">
            <a:avLst/>
          </a:prstGeom>
        </p:spPr>
      </p:pic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DF2D7D73-261E-81A6-4628-FA1F364BD3DE}"/>
              </a:ext>
            </a:extLst>
          </p:cNvPr>
          <p:cNvSpPr>
            <a:spLocks/>
          </p:cNvSpPr>
          <p:nvPr/>
        </p:nvSpPr>
        <p:spPr>
          <a:xfrm>
            <a:off x="505277" y="1343338"/>
            <a:ext cx="7076384" cy="4801790"/>
          </a:xfrm>
          <a:prstGeom prst="roundRect">
            <a:avLst>
              <a:gd name="adj" fmla="val 6453"/>
            </a:avLst>
          </a:prstGeom>
          <a:solidFill>
            <a:srgbClr val="FFFFFF">
              <a:alpha val="93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Content Placeholder 12">
            <a:extLst>
              <a:ext uri="{FF2B5EF4-FFF2-40B4-BE49-F238E27FC236}">
                <a16:creationId xmlns:a16="http://schemas.microsoft.com/office/drawing/2014/main" id="{3F8133A6-48D9-0772-B516-D0A675E3FCAF}"/>
              </a:ext>
            </a:extLst>
          </p:cNvPr>
          <p:cNvSpPr txBox="1">
            <a:spLocks/>
          </p:cNvSpPr>
          <p:nvPr/>
        </p:nvSpPr>
        <p:spPr>
          <a:xfrm>
            <a:off x="568329" y="1626348"/>
            <a:ext cx="5020179" cy="2995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GB" sz="2400">
                <a:solidFill>
                  <a:schemeClr val="accent2"/>
                </a:solidFill>
              </a:rPr>
              <a:t>Our TARGETS</a:t>
            </a:r>
          </a:p>
        </p:txBody>
      </p:sp>
      <p:pic>
        <p:nvPicPr>
          <p:cNvPr id="10" name="Picture 9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482D2FCD-8646-8367-9DCE-3D40F46185B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40000"/>
          </a:blip>
          <a:srcRect t="51505"/>
          <a:stretch/>
        </p:blipFill>
        <p:spPr>
          <a:xfrm rot="5400000">
            <a:off x="1479925" y="3519684"/>
            <a:ext cx="2378641" cy="366937"/>
          </a:xfrm>
          <a:prstGeom prst="rect">
            <a:avLst/>
          </a:prstGeom>
        </p:spPr>
      </p:pic>
      <p:pic>
        <p:nvPicPr>
          <p:cNvPr id="50" name="Picture 49" descr="A picture containing black, darkness&#10;&#10;Description automatically generated">
            <a:extLst>
              <a:ext uri="{FF2B5EF4-FFF2-40B4-BE49-F238E27FC236}">
                <a16:creationId xmlns:a16="http://schemas.microsoft.com/office/drawing/2014/main" id="{C4B00143-EAC7-8A0C-BA37-56979319F57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40000"/>
          </a:blip>
          <a:srcRect t="51505"/>
          <a:stretch/>
        </p:blipFill>
        <p:spPr>
          <a:xfrm rot="16200000" flipH="1">
            <a:off x="4294500" y="3709978"/>
            <a:ext cx="2221081" cy="366937"/>
          </a:xfrm>
          <a:prstGeom prst="rect">
            <a:avLst/>
          </a:prstGeom>
        </p:spPr>
      </p:pic>
      <p:sp>
        <p:nvSpPr>
          <p:cNvPr id="51" name="Text Placeholder 14">
            <a:extLst>
              <a:ext uri="{FF2B5EF4-FFF2-40B4-BE49-F238E27FC236}">
                <a16:creationId xmlns:a16="http://schemas.microsoft.com/office/drawing/2014/main" id="{50C4FB55-D902-806C-0E85-22236971DE70}"/>
              </a:ext>
            </a:extLst>
          </p:cNvPr>
          <p:cNvSpPr txBox="1">
            <a:spLocks/>
          </p:cNvSpPr>
          <p:nvPr/>
        </p:nvSpPr>
        <p:spPr>
          <a:xfrm>
            <a:off x="642640" y="2501609"/>
            <a:ext cx="2016000" cy="138499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defRPr/>
            </a:pPr>
            <a:r>
              <a:rPr lang="en-GB" sz="4000" b="1">
                <a:solidFill>
                  <a:schemeClr val="accent2"/>
                </a:solidFill>
              </a:rPr>
              <a:t>100% </a:t>
            </a:r>
            <a:br>
              <a:rPr lang="en-GB" sz="2000">
                <a:solidFill>
                  <a:prstClr val="black"/>
                </a:solidFill>
                <a:latin typeface="Calibri" panose="020F0502020204030204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GB" sz="2000">
                <a:solidFill>
                  <a:srgbClr val="475961"/>
                </a:solidFill>
              </a:rPr>
              <a:t>of cement manufacturing digitalized</a:t>
            </a:r>
            <a:endParaRPr lang="en-GB" sz="1800">
              <a:solidFill>
                <a:srgbClr val="475961"/>
              </a:solidFill>
            </a:endParaRPr>
          </a:p>
        </p:txBody>
      </p:sp>
      <p:sp>
        <p:nvSpPr>
          <p:cNvPr id="52" name="Text Placeholder 14">
            <a:extLst>
              <a:ext uri="{FF2B5EF4-FFF2-40B4-BE49-F238E27FC236}">
                <a16:creationId xmlns:a16="http://schemas.microsoft.com/office/drawing/2014/main" id="{7E2DE706-40BD-DD6C-D4B3-6CB8A286B223}"/>
              </a:ext>
            </a:extLst>
          </p:cNvPr>
          <p:cNvSpPr txBox="1">
            <a:spLocks/>
          </p:cNvSpPr>
          <p:nvPr/>
        </p:nvSpPr>
        <p:spPr>
          <a:xfrm>
            <a:off x="3029639" y="2501609"/>
            <a:ext cx="2015006" cy="110799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defRPr/>
            </a:pPr>
            <a:r>
              <a:rPr lang="en-GB" sz="4000" b="1">
                <a:solidFill>
                  <a:schemeClr val="accent2"/>
                </a:solidFill>
              </a:rPr>
              <a:t>100% </a:t>
            </a:r>
            <a:br>
              <a:rPr lang="en-GB" sz="2000">
                <a:solidFill>
                  <a:srgbClr val="8578AB"/>
                </a:solidFill>
                <a:latin typeface="Calibri" panose="020F0502020204030204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GB" sz="2000">
                <a:solidFill>
                  <a:srgbClr val="475961"/>
                </a:solidFill>
              </a:rPr>
              <a:t>of concrete </a:t>
            </a:r>
            <a:br>
              <a:rPr lang="en-GB" sz="2000">
                <a:solidFill>
                  <a:srgbClr val="475961"/>
                </a:solidFill>
              </a:rPr>
            </a:br>
            <a:r>
              <a:rPr lang="en-GB" sz="2000">
                <a:solidFill>
                  <a:srgbClr val="475961"/>
                </a:solidFill>
              </a:rPr>
              <a:t>logistics digitalized</a:t>
            </a:r>
          </a:p>
        </p:txBody>
      </p:sp>
      <p:sp>
        <p:nvSpPr>
          <p:cNvPr id="53" name="Text Placeholder 14">
            <a:extLst>
              <a:ext uri="{FF2B5EF4-FFF2-40B4-BE49-F238E27FC236}">
                <a16:creationId xmlns:a16="http://schemas.microsoft.com/office/drawing/2014/main" id="{8EB8E827-08A8-08FF-4746-7DDAE4167181}"/>
              </a:ext>
            </a:extLst>
          </p:cNvPr>
          <p:cNvSpPr txBox="1">
            <a:spLocks/>
          </p:cNvSpPr>
          <p:nvPr/>
        </p:nvSpPr>
        <p:spPr>
          <a:xfrm>
            <a:off x="5414012" y="2501609"/>
            <a:ext cx="2016000" cy="1384995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defRPr/>
            </a:pPr>
            <a:r>
              <a:rPr lang="en-GB" sz="4000" b="1" dirty="0">
                <a:solidFill>
                  <a:schemeClr val="accent2"/>
                </a:solidFill>
              </a:rPr>
              <a:t>100%</a:t>
            </a:r>
            <a:r>
              <a:rPr lang="en-GB" sz="3200" b="1" dirty="0">
                <a:solidFill>
                  <a:srgbClr val="0069AE"/>
                </a:solidFill>
                <a:latin typeface="Calibri" panose="020F0502020204030204"/>
                <a:ea typeface="Calibri Light" panose="020F0302020204030204" pitchFamily="34" charset="0"/>
                <a:cs typeface="Calibri Light" panose="020F0302020204030204" pitchFamily="34" charset="0"/>
              </a:rPr>
              <a:t> </a:t>
            </a:r>
            <a:br>
              <a:rPr lang="en-GB" sz="2000" dirty="0">
                <a:solidFill>
                  <a:prstClr val="black"/>
                </a:solidFill>
                <a:latin typeface="Calibri" panose="020F0502020204030204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GB" sz="2000" dirty="0">
                <a:solidFill>
                  <a:srgbClr val="475961"/>
                </a:solidFill>
              </a:rPr>
              <a:t>of customers covered by digital channels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AD731368-6B6D-1A48-3D21-181DBB415A87}"/>
              </a:ext>
            </a:extLst>
          </p:cNvPr>
          <p:cNvSpPr/>
          <p:nvPr/>
        </p:nvSpPr>
        <p:spPr>
          <a:xfrm>
            <a:off x="511673" y="1340219"/>
            <a:ext cx="7069988" cy="232492"/>
          </a:xfrm>
          <a:prstGeom prst="rect">
            <a:avLst/>
          </a:prstGeom>
          <a:solidFill>
            <a:srgbClr val="2028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E3AA178A-3A92-DA76-B4B0-CBD3840C188B}"/>
              </a:ext>
            </a:extLst>
          </p:cNvPr>
          <p:cNvSpPr/>
          <p:nvPr/>
        </p:nvSpPr>
        <p:spPr>
          <a:xfrm>
            <a:off x="8484045" y="4144815"/>
            <a:ext cx="3473617" cy="1252238"/>
          </a:xfrm>
          <a:prstGeom prst="ellipse">
            <a:avLst/>
          </a:prstGeom>
          <a:solidFill>
            <a:srgbClr val="80808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6" name="Text Placeholder 14">
            <a:extLst>
              <a:ext uri="{FF2B5EF4-FFF2-40B4-BE49-F238E27FC236}">
                <a16:creationId xmlns:a16="http://schemas.microsoft.com/office/drawing/2014/main" id="{BA6B6EB7-9454-8E4F-3A34-9AB4A902AA13}"/>
              </a:ext>
            </a:extLst>
          </p:cNvPr>
          <p:cNvSpPr txBox="1">
            <a:spLocks/>
          </p:cNvSpPr>
          <p:nvPr/>
        </p:nvSpPr>
        <p:spPr>
          <a:xfrm>
            <a:off x="9289696" y="4346835"/>
            <a:ext cx="1862313" cy="839717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defRPr/>
            </a:pPr>
            <a:r>
              <a:rPr lang="en-GB" sz="3200" b="1">
                <a:solidFill>
                  <a:srgbClr val="20286E"/>
                </a:solidFill>
                <a:latin typeface="Calibri" panose="020F0502020204030204"/>
                <a:ea typeface="Calibri Light" panose="020F0302020204030204" pitchFamily="34" charset="0"/>
                <a:cs typeface="Calibri Light" panose="020F0302020204030204" pitchFamily="34" charset="0"/>
              </a:rPr>
              <a:t>ROI</a:t>
            </a:r>
          </a:p>
          <a:p>
            <a:pPr lvl="1" algn="ctr">
              <a:defRPr/>
            </a:pPr>
            <a:r>
              <a:rPr lang="en-GB" sz="2400" b="1">
                <a:solidFill>
                  <a:schemeClr val="accent2"/>
                </a:solidFill>
              </a:rPr>
              <a:t>&gt; 5x</a:t>
            </a: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FD907C4-C3E5-06F7-417B-BA593A91D7B9}"/>
              </a:ext>
            </a:extLst>
          </p:cNvPr>
          <p:cNvSpPr/>
          <p:nvPr/>
        </p:nvSpPr>
        <p:spPr>
          <a:xfrm>
            <a:off x="1285935" y="4001754"/>
            <a:ext cx="587228" cy="587028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rgbClr val="20286E"/>
            </a:solidFill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GB">
              <a:solidFill>
                <a:srgbClr val="1F3367"/>
              </a:solidFill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58" name="Group 57">
            <a:extLst>
              <a:ext uri="{FF2B5EF4-FFF2-40B4-BE49-F238E27FC236}">
                <a16:creationId xmlns:a16="http://schemas.microsoft.com/office/drawing/2014/main" id="{CC90C68B-26C1-F084-2A07-9D4E0655E5FE}"/>
              </a:ext>
            </a:extLst>
          </p:cNvPr>
          <p:cNvGrpSpPr/>
          <p:nvPr/>
        </p:nvGrpSpPr>
        <p:grpSpPr>
          <a:xfrm>
            <a:off x="3737132" y="4001754"/>
            <a:ext cx="587228" cy="587028"/>
            <a:chOff x="5257153" y="4137112"/>
            <a:chExt cx="587228" cy="587028"/>
          </a:xfrm>
        </p:grpSpPr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D30FC4C7-63B7-E2F9-5F36-3231BF4D7A4D}"/>
                </a:ext>
              </a:extLst>
            </p:cNvPr>
            <p:cNvSpPr/>
            <p:nvPr/>
          </p:nvSpPr>
          <p:spPr>
            <a:xfrm>
              <a:off x="5257153" y="4137112"/>
              <a:ext cx="587228" cy="587028"/>
            </a:xfrm>
            <a:custGeom>
              <a:avLst/>
              <a:gdLst>
                <a:gd name="connsiteX0" fmla="*/ 587228 w 587228"/>
                <a:gd name="connsiteY0" fmla="*/ 293514 h 587028"/>
                <a:gd name="connsiteX1" fmla="*/ 293714 w 587228"/>
                <a:gd name="connsiteY1" fmla="*/ 587029 h 587028"/>
                <a:gd name="connsiteX2" fmla="*/ 0 w 587228"/>
                <a:gd name="connsiteY2" fmla="*/ 293514 h 587028"/>
                <a:gd name="connsiteX3" fmla="*/ 293514 w 587228"/>
                <a:gd name="connsiteY3" fmla="*/ 0 h 587028"/>
                <a:gd name="connsiteX4" fmla="*/ 587029 w 587228"/>
                <a:gd name="connsiteY4" fmla="*/ 293514 h 587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7228" h="587028">
                  <a:moveTo>
                    <a:pt x="587228" y="293514"/>
                  </a:moveTo>
                  <a:cubicBezTo>
                    <a:pt x="587228" y="455756"/>
                    <a:pt x="455756" y="587029"/>
                    <a:pt x="293714" y="587029"/>
                  </a:cubicBezTo>
                  <a:cubicBezTo>
                    <a:pt x="131672" y="587029"/>
                    <a:pt x="0" y="455756"/>
                    <a:pt x="0" y="293514"/>
                  </a:cubicBezTo>
                  <a:cubicBezTo>
                    <a:pt x="0" y="131272"/>
                    <a:pt x="131472" y="0"/>
                    <a:pt x="293514" y="0"/>
                  </a:cubicBezTo>
                  <a:cubicBezTo>
                    <a:pt x="455756" y="0"/>
                    <a:pt x="587029" y="131472"/>
                    <a:pt x="587029" y="293514"/>
                  </a:cubicBezTo>
                </a:path>
              </a:pathLst>
            </a:custGeom>
            <a:noFill/>
            <a:ln w="12700" cap="flat">
              <a:solidFill>
                <a:srgbClr val="20286E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>
                <a:solidFill>
                  <a:srgbClr val="1F3367"/>
                </a:solidFill>
                <a:latin typeface="Calibri" panose="020F0502020204030204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17450980-178F-8C79-35FF-B9DF6440FBF3}"/>
                </a:ext>
              </a:extLst>
            </p:cNvPr>
            <p:cNvSpPr/>
            <p:nvPr/>
          </p:nvSpPr>
          <p:spPr>
            <a:xfrm>
              <a:off x="5343357" y="4297471"/>
              <a:ext cx="414821" cy="266311"/>
            </a:xfrm>
            <a:custGeom>
              <a:avLst/>
              <a:gdLst>
                <a:gd name="connsiteX0" fmla="*/ 40579 w 422156"/>
                <a:gd name="connsiteY0" fmla="*/ 189194 h 271020"/>
                <a:gd name="connsiteX1" fmla="*/ 14012 w 422156"/>
                <a:gd name="connsiteY1" fmla="*/ 189194 h 271020"/>
                <a:gd name="connsiteX2" fmla="*/ 14012 w 422156"/>
                <a:gd name="connsiteY2" fmla="*/ 218859 h 271020"/>
                <a:gd name="connsiteX3" fmla="*/ 28410 w 422156"/>
                <a:gd name="connsiteY3" fmla="*/ 218859 h 271020"/>
                <a:gd name="connsiteX4" fmla="*/ 72735 w 422156"/>
                <a:gd name="connsiteY4" fmla="*/ 270697 h 271020"/>
                <a:gd name="connsiteX5" fmla="*/ 123946 w 422156"/>
                <a:gd name="connsiteY5" fmla="*/ 232304 h 271020"/>
                <a:gd name="connsiteX6" fmla="*/ 123946 w 422156"/>
                <a:gd name="connsiteY6" fmla="*/ 220114 h 271020"/>
                <a:gd name="connsiteX7" fmla="*/ 128947 w 422156"/>
                <a:gd name="connsiteY7" fmla="*/ 220114 h 271020"/>
                <a:gd name="connsiteX8" fmla="*/ 128947 w 422156"/>
                <a:gd name="connsiteY8" fmla="*/ 233863 h 271020"/>
                <a:gd name="connsiteX9" fmla="*/ 174852 w 422156"/>
                <a:gd name="connsiteY9" fmla="*/ 271021 h 271020"/>
                <a:gd name="connsiteX10" fmla="*/ 223552 w 422156"/>
                <a:gd name="connsiteY10" fmla="*/ 234187 h 271020"/>
                <a:gd name="connsiteX11" fmla="*/ 224503 w 422156"/>
                <a:gd name="connsiteY11" fmla="*/ 223860 h 271020"/>
                <a:gd name="connsiteX12" fmla="*/ 297542 w 422156"/>
                <a:gd name="connsiteY12" fmla="*/ 223860 h 271020"/>
                <a:gd name="connsiteX13" fmla="*/ 347194 w 422156"/>
                <a:gd name="connsiteY13" fmla="*/ 270393 h 271020"/>
                <a:gd name="connsiteX14" fmla="*/ 392795 w 422156"/>
                <a:gd name="connsiteY14" fmla="*/ 228558 h 271020"/>
                <a:gd name="connsiteX15" fmla="*/ 412477 w 422156"/>
                <a:gd name="connsiteY15" fmla="*/ 211083 h 271020"/>
                <a:gd name="connsiteX16" fmla="*/ 422156 w 422156"/>
                <a:gd name="connsiteY16" fmla="*/ 211083 h 271020"/>
                <a:gd name="connsiteX17" fmla="*/ 422156 w 422156"/>
                <a:gd name="connsiteY17" fmla="*/ 183605 h 271020"/>
                <a:gd name="connsiteX18" fmla="*/ 413105 w 422156"/>
                <a:gd name="connsiteY18" fmla="*/ 183605 h 271020"/>
                <a:gd name="connsiteX19" fmla="*/ 413105 w 422156"/>
                <a:gd name="connsiteY19" fmla="*/ 104916 h 271020"/>
                <a:gd name="connsiteX20" fmla="*/ 386558 w 422156"/>
                <a:gd name="connsiteY20" fmla="*/ 47773 h 271020"/>
                <a:gd name="connsiteX21" fmla="*/ 296003 w 422156"/>
                <a:gd name="connsiteY21" fmla="*/ 47773 h 271020"/>
                <a:gd name="connsiteX22" fmla="*/ 296003 w 422156"/>
                <a:gd name="connsiteY22" fmla="*/ 26795 h 271020"/>
                <a:gd name="connsiteX23" fmla="*/ 289443 w 422156"/>
                <a:gd name="connsiteY23" fmla="*/ 8064 h 271020"/>
                <a:gd name="connsiteX24" fmla="*/ 275086 w 422156"/>
                <a:gd name="connsiteY24" fmla="*/ 572 h 271020"/>
                <a:gd name="connsiteX25" fmla="*/ 270692 w 422156"/>
                <a:gd name="connsiteY25" fmla="*/ 9320 h 271020"/>
                <a:gd name="connsiteX26" fmla="*/ 281950 w 422156"/>
                <a:gd name="connsiteY26" fmla="*/ 18695 h 271020"/>
                <a:gd name="connsiteX27" fmla="*/ 283510 w 422156"/>
                <a:gd name="connsiteY27" fmla="*/ 24628 h 271020"/>
                <a:gd name="connsiteX28" fmla="*/ 283510 w 422156"/>
                <a:gd name="connsiteY28" fmla="*/ 126745 h 271020"/>
                <a:gd name="connsiteX29" fmla="*/ 276017 w 422156"/>
                <a:gd name="connsiteY29" fmla="*/ 126745 h 271020"/>
                <a:gd name="connsiteX30" fmla="*/ 253541 w 422156"/>
                <a:gd name="connsiteY30" fmla="*/ 40544 h 271020"/>
                <a:gd name="connsiteX31" fmla="*/ 175804 w 422156"/>
                <a:gd name="connsiteY31" fmla="*/ 7761 h 271020"/>
                <a:gd name="connsiteX32" fmla="*/ 24967 w 422156"/>
                <a:gd name="connsiteY32" fmla="*/ 7761 h 271020"/>
                <a:gd name="connsiteX33" fmla="*/ 0 w 422156"/>
                <a:gd name="connsiteY33" fmla="*/ 66463 h 271020"/>
                <a:gd name="connsiteX34" fmla="*/ 64939 w 422156"/>
                <a:gd name="connsiteY34" fmla="*/ 127656 h 271020"/>
                <a:gd name="connsiteX35" fmla="*/ 40579 w 422156"/>
                <a:gd name="connsiteY35" fmla="*/ 189194 h 271020"/>
                <a:gd name="connsiteX36" fmla="*/ 325345 w 422156"/>
                <a:gd name="connsiteY36" fmla="*/ 117046 h 271020"/>
                <a:gd name="connsiteX37" fmla="*/ 325345 w 422156"/>
                <a:gd name="connsiteY37" fmla="*/ 65511 h 271020"/>
                <a:gd name="connsiteX38" fmla="*/ 377183 w 422156"/>
                <a:gd name="connsiteY38" fmla="*/ 65511 h 271020"/>
                <a:gd name="connsiteX39" fmla="*/ 396865 w 422156"/>
                <a:gd name="connsiteY39" fmla="*/ 107670 h 271020"/>
                <a:gd name="connsiteX40" fmla="*/ 396541 w 422156"/>
                <a:gd name="connsiteY40" fmla="*/ 133589 h 271020"/>
                <a:gd name="connsiteX41" fmla="*/ 380929 w 422156"/>
                <a:gd name="connsiteY41" fmla="*/ 140454 h 271020"/>
                <a:gd name="connsiteX42" fmla="*/ 325345 w 422156"/>
                <a:gd name="connsiteY42" fmla="*/ 117046 h 271020"/>
                <a:gd name="connsiteX43" fmla="*/ 324717 w 422156"/>
                <a:gd name="connsiteY43" fmla="*/ 220863 h 271020"/>
                <a:gd name="connsiteX44" fmla="*/ 345796 w 422156"/>
                <a:gd name="connsiteY44" fmla="*/ 199784 h 271020"/>
                <a:gd name="connsiteX45" fmla="*/ 366876 w 422156"/>
                <a:gd name="connsiteY45" fmla="*/ 220863 h 271020"/>
                <a:gd name="connsiteX46" fmla="*/ 345796 w 422156"/>
                <a:gd name="connsiteY46" fmla="*/ 241943 h 271020"/>
                <a:gd name="connsiteX47" fmla="*/ 324717 w 422156"/>
                <a:gd name="connsiteY47" fmla="*/ 220863 h 271020"/>
                <a:gd name="connsiteX48" fmla="*/ 154704 w 422156"/>
                <a:gd name="connsiteY48" fmla="*/ 221673 h 271020"/>
                <a:gd name="connsiteX49" fmla="*/ 175784 w 422156"/>
                <a:gd name="connsiteY49" fmla="*/ 200594 h 271020"/>
                <a:gd name="connsiteX50" fmla="*/ 196863 w 422156"/>
                <a:gd name="connsiteY50" fmla="*/ 221673 h 271020"/>
                <a:gd name="connsiteX51" fmla="*/ 175784 w 422156"/>
                <a:gd name="connsiteY51" fmla="*/ 242753 h 271020"/>
                <a:gd name="connsiteX52" fmla="*/ 154704 w 422156"/>
                <a:gd name="connsiteY52" fmla="*/ 221673 h 271020"/>
                <a:gd name="connsiteX53" fmla="*/ 28086 w 422156"/>
                <a:gd name="connsiteY53" fmla="*/ 43055 h 271020"/>
                <a:gd name="connsiteX54" fmla="*/ 35578 w 422156"/>
                <a:gd name="connsiteY54" fmla="*/ 21814 h 271020"/>
                <a:gd name="connsiteX55" fmla="*/ 192003 w 422156"/>
                <a:gd name="connsiteY55" fmla="*/ 22137 h 271020"/>
                <a:gd name="connsiteX56" fmla="*/ 245097 w 422156"/>
                <a:gd name="connsiteY56" fmla="*/ 51803 h 271020"/>
                <a:gd name="connsiteX57" fmla="*/ 257894 w 422156"/>
                <a:gd name="connsiteY57" fmla="*/ 136100 h 271020"/>
                <a:gd name="connsiteX58" fmla="*/ 185139 w 422156"/>
                <a:gd name="connsiteY58" fmla="*/ 107367 h 271020"/>
                <a:gd name="connsiteX59" fmla="*/ 204497 w 422156"/>
                <a:gd name="connsiteY59" fmla="*/ 57736 h 271020"/>
                <a:gd name="connsiteX60" fmla="*/ 200123 w 422156"/>
                <a:gd name="connsiteY60" fmla="*/ 45242 h 271020"/>
                <a:gd name="connsiteX61" fmla="*/ 188257 w 422156"/>
                <a:gd name="connsiteY61" fmla="*/ 51803 h 271020"/>
                <a:gd name="connsiteX62" fmla="*/ 169223 w 422156"/>
                <a:gd name="connsiteY62" fmla="*/ 99267 h 271020"/>
                <a:gd name="connsiteX63" fmla="*/ 28086 w 422156"/>
                <a:gd name="connsiteY63" fmla="*/ 43055 h 271020"/>
                <a:gd name="connsiteX64" fmla="*/ 55422 w 422156"/>
                <a:gd name="connsiteY64" fmla="*/ 221349 h 271020"/>
                <a:gd name="connsiteX65" fmla="*/ 76481 w 422156"/>
                <a:gd name="connsiteY65" fmla="*/ 200270 h 271020"/>
                <a:gd name="connsiteX66" fmla="*/ 97561 w 422156"/>
                <a:gd name="connsiteY66" fmla="*/ 221349 h 271020"/>
                <a:gd name="connsiteX67" fmla="*/ 76481 w 422156"/>
                <a:gd name="connsiteY67" fmla="*/ 242429 h 271020"/>
                <a:gd name="connsiteX68" fmla="*/ 55422 w 422156"/>
                <a:gd name="connsiteY68" fmla="*/ 221349 h 271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422156" h="271020">
                  <a:moveTo>
                    <a:pt x="40579" y="189194"/>
                  </a:moveTo>
                  <a:lnTo>
                    <a:pt x="14012" y="189194"/>
                  </a:lnTo>
                  <a:lnTo>
                    <a:pt x="14012" y="218859"/>
                  </a:lnTo>
                  <a:lnTo>
                    <a:pt x="28410" y="218859"/>
                  </a:lnTo>
                  <a:cubicBezTo>
                    <a:pt x="28410" y="218859"/>
                    <a:pt x="28734" y="270697"/>
                    <a:pt x="72735" y="270697"/>
                  </a:cubicBezTo>
                  <a:cubicBezTo>
                    <a:pt x="116777" y="270697"/>
                    <a:pt x="123946" y="232304"/>
                    <a:pt x="123946" y="232304"/>
                  </a:cubicBezTo>
                  <a:lnTo>
                    <a:pt x="123946" y="220114"/>
                  </a:lnTo>
                  <a:lnTo>
                    <a:pt x="128947" y="220114"/>
                  </a:lnTo>
                  <a:lnTo>
                    <a:pt x="128947" y="233863"/>
                  </a:lnTo>
                  <a:cubicBezTo>
                    <a:pt x="128947" y="233863"/>
                    <a:pt x="137371" y="271021"/>
                    <a:pt x="174852" y="271021"/>
                  </a:cubicBezTo>
                  <a:cubicBezTo>
                    <a:pt x="212313" y="271021"/>
                    <a:pt x="222620" y="238845"/>
                    <a:pt x="223552" y="234187"/>
                  </a:cubicBezTo>
                  <a:cubicBezTo>
                    <a:pt x="224503" y="229510"/>
                    <a:pt x="224503" y="223860"/>
                    <a:pt x="224503" y="223860"/>
                  </a:cubicBezTo>
                  <a:lnTo>
                    <a:pt x="297542" y="223860"/>
                  </a:lnTo>
                  <a:cubicBezTo>
                    <a:pt x="297542" y="223860"/>
                    <a:pt x="301936" y="270393"/>
                    <a:pt x="347194" y="270393"/>
                  </a:cubicBezTo>
                  <a:cubicBezTo>
                    <a:pt x="392471" y="270393"/>
                    <a:pt x="392795" y="228558"/>
                    <a:pt x="392795" y="228558"/>
                  </a:cubicBezTo>
                  <a:lnTo>
                    <a:pt x="412477" y="211083"/>
                  </a:lnTo>
                  <a:lnTo>
                    <a:pt x="422156" y="211083"/>
                  </a:lnTo>
                  <a:lnTo>
                    <a:pt x="422156" y="183605"/>
                  </a:lnTo>
                  <a:lnTo>
                    <a:pt x="413105" y="183605"/>
                  </a:lnTo>
                  <a:lnTo>
                    <a:pt x="413105" y="104916"/>
                  </a:lnTo>
                  <a:lnTo>
                    <a:pt x="386558" y="47773"/>
                  </a:lnTo>
                  <a:lnTo>
                    <a:pt x="296003" y="47773"/>
                  </a:lnTo>
                  <a:lnTo>
                    <a:pt x="296003" y="26795"/>
                  </a:lnTo>
                  <a:cubicBezTo>
                    <a:pt x="296003" y="26795"/>
                    <a:pt x="295376" y="14605"/>
                    <a:pt x="289443" y="8064"/>
                  </a:cubicBezTo>
                  <a:cubicBezTo>
                    <a:pt x="283510" y="1524"/>
                    <a:pt x="277253" y="-1311"/>
                    <a:pt x="275086" y="572"/>
                  </a:cubicBezTo>
                  <a:cubicBezTo>
                    <a:pt x="272879" y="2455"/>
                    <a:pt x="268829" y="6525"/>
                    <a:pt x="270692" y="9320"/>
                  </a:cubicBezTo>
                  <a:cubicBezTo>
                    <a:pt x="272575" y="12134"/>
                    <a:pt x="279743" y="14929"/>
                    <a:pt x="281950" y="18695"/>
                  </a:cubicBezTo>
                  <a:cubicBezTo>
                    <a:pt x="284137" y="22441"/>
                    <a:pt x="283510" y="24628"/>
                    <a:pt x="283510" y="24628"/>
                  </a:cubicBezTo>
                  <a:lnTo>
                    <a:pt x="283510" y="126745"/>
                  </a:lnTo>
                  <a:lnTo>
                    <a:pt x="276017" y="126745"/>
                  </a:lnTo>
                  <a:cubicBezTo>
                    <a:pt x="276017" y="126745"/>
                    <a:pt x="289119" y="78977"/>
                    <a:pt x="253541" y="40544"/>
                  </a:cubicBezTo>
                  <a:cubicBezTo>
                    <a:pt x="217943" y="2151"/>
                    <a:pt x="175804" y="7761"/>
                    <a:pt x="175804" y="7761"/>
                  </a:cubicBezTo>
                  <a:lnTo>
                    <a:pt x="24967" y="7761"/>
                  </a:lnTo>
                  <a:lnTo>
                    <a:pt x="0" y="66463"/>
                  </a:lnTo>
                  <a:lnTo>
                    <a:pt x="64939" y="127656"/>
                  </a:lnTo>
                  <a:lnTo>
                    <a:pt x="40579" y="189194"/>
                  </a:lnTo>
                  <a:close/>
                  <a:moveTo>
                    <a:pt x="325345" y="117046"/>
                  </a:moveTo>
                  <a:lnTo>
                    <a:pt x="325345" y="65511"/>
                  </a:lnTo>
                  <a:lnTo>
                    <a:pt x="377183" y="65511"/>
                  </a:lnTo>
                  <a:lnTo>
                    <a:pt x="396865" y="107670"/>
                  </a:lnTo>
                  <a:cubicBezTo>
                    <a:pt x="396865" y="107670"/>
                    <a:pt x="397189" y="121095"/>
                    <a:pt x="396541" y="133589"/>
                  </a:cubicBezTo>
                  <a:cubicBezTo>
                    <a:pt x="395913" y="146063"/>
                    <a:pt x="380929" y="140454"/>
                    <a:pt x="380929" y="140454"/>
                  </a:cubicBezTo>
                  <a:lnTo>
                    <a:pt x="325345" y="117046"/>
                  </a:lnTo>
                  <a:close/>
                  <a:moveTo>
                    <a:pt x="324717" y="220863"/>
                  </a:moveTo>
                  <a:cubicBezTo>
                    <a:pt x="324717" y="209240"/>
                    <a:pt x="334173" y="199784"/>
                    <a:pt x="345796" y="199784"/>
                  </a:cubicBezTo>
                  <a:cubicBezTo>
                    <a:pt x="357440" y="199784"/>
                    <a:pt x="366876" y="209240"/>
                    <a:pt x="366876" y="220863"/>
                  </a:cubicBezTo>
                  <a:cubicBezTo>
                    <a:pt x="366876" y="232507"/>
                    <a:pt x="357440" y="241943"/>
                    <a:pt x="345796" y="241943"/>
                  </a:cubicBezTo>
                  <a:cubicBezTo>
                    <a:pt x="334173" y="241943"/>
                    <a:pt x="324717" y="232527"/>
                    <a:pt x="324717" y="220863"/>
                  </a:cubicBezTo>
                  <a:close/>
                  <a:moveTo>
                    <a:pt x="154704" y="221673"/>
                  </a:moveTo>
                  <a:cubicBezTo>
                    <a:pt x="154704" y="210050"/>
                    <a:pt x="164140" y="200594"/>
                    <a:pt x="175784" y="200594"/>
                  </a:cubicBezTo>
                  <a:cubicBezTo>
                    <a:pt x="187407" y="200594"/>
                    <a:pt x="196863" y="210050"/>
                    <a:pt x="196863" y="221673"/>
                  </a:cubicBezTo>
                  <a:cubicBezTo>
                    <a:pt x="196863" y="233317"/>
                    <a:pt x="187407" y="242753"/>
                    <a:pt x="175784" y="242753"/>
                  </a:cubicBezTo>
                  <a:cubicBezTo>
                    <a:pt x="164140" y="242753"/>
                    <a:pt x="154704" y="233317"/>
                    <a:pt x="154704" y="221673"/>
                  </a:cubicBezTo>
                  <a:close/>
                  <a:moveTo>
                    <a:pt x="28086" y="43055"/>
                  </a:moveTo>
                  <a:lnTo>
                    <a:pt x="35578" y="21814"/>
                  </a:lnTo>
                  <a:lnTo>
                    <a:pt x="192003" y="22137"/>
                  </a:lnTo>
                  <a:cubicBezTo>
                    <a:pt x="192003" y="22137"/>
                    <a:pt x="228229" y="28071"/>
                    <a:pt x="245097" y="51803"/>
                  </a:cubicBezTo>
                  <a:cubicBezTo>
                    <a:pt x="261944" y="75535"/>
                    <a:pt x="267270" y="102061"/>
                    <a:pt x="257894" y="136100"/>
                  </a:cubicBezTo>
                  <a:lnTo>
                    <a:pt x="185139" y="107367"/>
                  </a:lnTo>
                  <a:lnTo>
                    <a:pt x="204497" y="57736"/>
                  </a:lnTo>
                  <a:cubicBezTo>
                    <a:pt x="204497" y="57736"/>
                    <a:pt x="208547" y="48360"/>
                    <a:pt x="200123" y="45242"/>
                  </a:cubicBezTo>
                  <a:cubicBezTo>
                    <a:pt x="191679" y="42123"/>
                    <a:pt x="189816" y="47733"/>
                    <a:pt x="188257" y="51803"/>
                  </a:cubicBezTo>
                  <a:cubicBezTo>
                    <a:pt x="186698" y="55852"/>
                    <a:pt x="169223" y="99267"/>
                    <a:pt x="169223" y="99267"/>
                  </a:cubicBezTo>
                  <a:lnTo>
                    <a:pt x="28086" y="43055"/>
                  </a:lnTo>
                  <a:close/>
                  <a:moveTo>
                    <a:pt x="55422" y="221349"/>
                  </a:moveTo>
                  <a:cubicBezTo>
                    <a:pt x="55422" y="209726"/>
                    <a:pt x="64858" y="200270"/>
                    <a:pt x="76481" y="200270"/>
                  </a:cubicBezTo>
                  <a:cubicBezTo>
                    <a:pt x="88125" y="200270"/>
                    <a:pt x="97561" y="209726"/>
                    <a:pt x="97561" y="221349"/>
                  </a:cubicBezTo>
                  <a:cubicBezTo>
                    <a:pt x="97561" y="232993"/>
                    <a:pt x="88125" y="242429"/>
                    <a:pt x="76481" y="242429"/>
                  </a:cubicBezTo>
                  <a:cubicBezTo>
                    <a:pt x="64838" y="242429"/>
                    <a:pt x="55422" y="232993"/>
                    <a:pt x="55422" y="221349"/>
                  </a:cubicBezTo>
                  <a:close/>
                </a:path>
              </a:pathLst>
            </a:custGeom>
            <a:solidFill>
              <a:srgbClr val="20286E"/>
            </a:solidFill>
            <a:ln w="20035" cap="flat">
              <a:solidFill>
                <a:srgbClr val="20286E"/>
              </a:solidFill>
              <a:prstDash val="solid"/>
              <a:miter/>
            </a:ln>
          </p:spPr>
          <p:txBody>
            <a:bodyPr rtlCol="0" anchor="ctr"/>
            <a:lstStyle/>
            <a:p>
              <a:pPr>
                <a:defRPr/>
              </a:pPr>
              <a:endParaRPr lang="en-GB">
                <a:solidFill>
                  <a:srgbClr val="1F3367"/>
                </a:solidFill>
                <a:latin typeface="Calibri" panose="020F0502020204030204"/>
              </a:endParaRPr>
            </a:p>
          </p:txBody>
        </p:sp>
      </p:grpSp>
      <p:pic>
        <p:nvPicPr>
          <p:cNvPr id="61" name="Graphic 60">
            <a:extLst>
              <a:ext uri="{FF2B5EF4-FFF2-40B4-BE49-F238E27FC236}">
                <a16:creationId xmlns:a16="http://schemas.microsoft.com/office/drawing/2014/main" id="{7D543AA1-F60C-7620-5880-C161325BC68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409505" y="4123891"/>
            <a:ext cx="342754" cy="342754"/>
          </a:xfrm>
          <a:prstGeom prst="rect">
            <a:avLst/>
          </a:prstGeom>
        </p:spPr>
      </p:pic>
      <p:sp>
        <p:nvSpPr>
          <p:cNvPr id="62" name="Freeform: Shape 61">
            <a:extLst>
              <a:ext uri="{FF2B5EF4-FFF2-40B4-BE49-F238E27FC236}">
                <a16:creationId xmlns:a16="http://schemas.microsoft.com/office/drawing/2014/main" id="{91E76607-94EC-25E6-005E-A2E757956D00}"/>
              </a:ext>
            </a:extLst>
          </p:cNvPr>
          <p:cNvSpPr/>
          <p:nvPr/>
        </p:nvSpPr>
        <p:spPr>
          <a:xfrm>
            <a:off x="6166324" y="3975673"/>
            <a:ext cx="587228" cy="587028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noFill/>
          <a:ln w="12700" cap="flat">
            <a:solidFill>
              <a:srgbClr val="20286E"/>
            </a:solidFill>
            <a:prstDash val="solid"/>
            <a:miter/>
          </a:ln>
        </p:spPr>
        <p:txBody>
          <a:bodyPr rtlCol="0" anchor="ctr"/>
          <a:lstStyle/>
          <a:p>
            <a:pPr>
              <a:defRPr/>
            </a:pPr>
            <a:endParaRPr lang="en-GB">
              <a:solidFill>
                <a:srgbClr val="1F3367"/>
              </a:solidFill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63" name="Graphic 62">
            <a:extLst>
              <a:ext uri="{FF2B5EF4-FFF2-40B4-BE49-F238E27FC236}">
                <a16:creationId xmlns:a16="http://schemas.microsoft.com/office/drawing/2014/main" id="{BC8C59B7-D54E-A112-4A0A-8F45B59A42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267270" y="4076517"/>
            <a:ext cx="385336" cy="385336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77A03BB2-FE50-5A35-6B51-AFBAB0DD5D9D}"/>
              </a:ext>
            </a:extLst>
          </p:cNvPr>
          <p:cNvSpPr/>
          <p:nvPr/>
        </p:nvSpPr>
        <p:spPr>
          <a:xfrm>
            <a:off x="511673" y="5921130"/>
            <a:ext cx="7069988" cy="234000"/>
          </a:xfrm>
          <a:prstGeom prst="rect">
            <a:avLst/>
          </a:prstGeom>
          <a:solidFill>
            <a:srgbClr val="2028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06E4455F-9B92-D889-8C15-EAB335923B17}"/>
              </a:ext>
            </a:extLst>
          </p:cNvPr>
          <p:cNvSpPr/>
          <p:nvPr/>
        </p:nvSpPr>
        <p:spPr>
          <a:xfrm rot="5400000">
            <a:off x="5632129" y="3712021"/>
            <a:ext cx="4794787" cy="71426"/>
          </a:xfrm>
          <a:prstGeom prst="rect">
            <a:avLst/>
          </a:prstGeom>
          <a:solidFill>
            <a:srgbClr val="20286E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6" name="Freeform: Shape 65">
            <a:extLst>
              <a:ext uri="{FF2B5EF4-FFF2-40B4-BE49-F238E27FC236}">
                <a16:creationId xmlns:a16="http://schemas.microsoft.com/office/drawing/2014/main" id="{FB2CF739-46A4-C50D-AD78-D0F2810A2A39}"/>
              </a:ext>
            </a:extLst>
          </p:cNvPr>
          <p:cNvSpPr/>
          <p:nvPr/>
        </p:nvSpPr>
        <p:spPr>
          <a:xfrm rot="5400000">
            <a:off x="7822997" y="3641794"/>
            <a:ext cx="396820" cy="376205"/>
          </a:xfrm>
          <a:custGeom>
            <a:avLst/>
            <a:gdLst>
              <a:gd name="connsiteX0" fmla="*/ 587228 w 587228"/>
              <a:gd name="connsiteY0" fmla="*/ 293514 h 587028"/>
              <a:gd name="connsiteX1" fmla="*/ 293714 w 587228"/>
              <a:gd name="connsiteY1" fmla="*/ 587029 h 587028"/>
              <a:gd name="connsiteX2" fmla="*/ 0 w 587228"/>
              <a:gd name="connsiteY2" fmla="*/ 293514 h 587028"/>
              <a:gd name="connsiteX3" fmla="*/ 293514 w 587228"/>
              <a:gd name="connsiteY3" fmla="*/ 0 h 587028"/>
              <a:gd name="connsiteX4" fmla="*/ 587029 w 587228"/>
              <a:gd name="connsiteY4" fmla="*/ 293514 h 587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7228" h="587028">
                <a:moveTo>
                  <a:pt x="587228" y="293514"/>
                </a:moveTo>
                <a:cubicBezTo>
                  <a:pt x="587228" y="455756"/>
                  <a:pt x="455756" y="587029"/>
                  <a:pt x="293714" y="587029"/>
                </a:cubicBezTo>
                <a:cubicBezTo>
                  <a:pt x="131672" y="587029"/>
                  <a:pt x="0" y="455756"/>
                  <a:pt x="0" y="293514"/>
                </a:cubicBezTo>
                <a:cubicBezTo>
                  <a:pt x="0" y="131272"/>
                  <a:pt x="131472" y="0"/>
                  <a:pt x="293514" y="0"/>
                </a:cubicBezTo>
                <a:cubicBezTo>
                  <a:pt x="455756" y="0"/>
                  <a:pt x="587029" y="131472"/>
                  <a:pt x="587029" y="293514"/>
                </a:cubicBezTo>
              </a:path>
            </a:pathLst>
          </a:custGeom>
          <a:solidFill>
            <a:srgbClr val="FFFFFF"/>
          </a:solidFill>
          <a:ln w="12700" cap="flat">
            <a:solidFill>
              <a:srgbClr val="040F27"/>
            </a:solidFill>
            <a:prstDash val="solid"/>
            <a:miter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7" name="Freeform: Shape 66">
            <a:extLst>
              <a:ext uri="{FF2B5EF4-FFF2-40B4-BE49-F238E27FC236}">
                <a16:creationId xmlns:a16="http://schemas.microsoft.com/office/drawing/2014/main" id="{6B68121D-DD92-2C26-1605-9348FE9AE8C4}"/>
              </a:ext>
            </a:extLst>
          </p:cNvPr>
          <p:cNvSpPr/>
          <p:nvPr/>
        </p:nvSpPr>
        <p:spPr>
          <a:xfrm rot="5400000">
            <a:off x="7924594" y="3771425"/>
            <a:ext cx="223359" cy="131568"/>
          </a:xfrm>
          <a:custGeom>
            <a:avLst/>
            <a:gdLst>
              <a:gd name="connsiteX0" fmla="*/ 130181 w 260356"/>
              <a:gd name="connsiteY0" fmla="*/ 0 h 151882"/>
              <a:gd name="connsiteX1" fmla="*/ 145520 w 260356"/>
              <a:gd name="connsiteY1" fmla="*/ 6362 h 151882"/>
              <a:gd name="connsiteX2" fmla="*/ 253999 w 260356"/>
              <a:gd name="connsiteY2" fmla="*/ 114842 h 151882"/>
              <a:gd name="connsiteX3" fmla="*/ 260356 w 260356"/>
              <a:gd name="connsiteY3" fmla="*/ 130181 h 151882"/>
              <a:gd name="connsiteX4" fmla="*/ 253999 w 260356"/>
              <a:gd name="connsiteY4" fmla="*/ 145520 h 151882"/>
              <a:gd name="connsiteX5" fmla="*/ 223321 w 260356"/>
              <a:gd name="connsiteY5" fmla="*/ 145520 h 151882"/>
              <a:gd name="connsiteX6" fmla="*/ 130181 w 260356"/>
              <a:gd name="connsiteY6" fmla="*/ 52379 h 151882"/>
              <a:gd name="connsiteX7" fmla="*/ 37041 w 260356"/>
              <a:gd name="connsiteY7" fmla="*/ 145519 h 151882"/>
              <a:gd name="connsiteX8" fmla="*/ 6363 w 260356"/>
              <a:gd name="connsiteY8" fmla="*/ 145519 h 151882"/>
              <a:gd name="connsiteX9" fmla="*/ 6363 w 260356"/>
              <a:gd name="connsiteY9" fmla="*/ 114842 h 151882"/>
              <a:gd name="connsiteX10" fmla="*/ 114843 w 260356"/>
              <a:gd name="connsiteY10" fmla="*/ 6362 h 151882"/>
              <a:gd name="connsiteX11" fmla="*/ 130181 w 260356"/>
              <a:gd name="connsiteY11" fmla="*/ 0 h 151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60356" h="151882">
                <a:moveTo>
                  <a:pt x="130181" y="0"/>
                </a:moveTo>
                <a:cubicBezTo>
                  <a:pt x="135730" y="0"/>
                  <a:pt x="141279" y="2121"/>
                  <a:pt x="145520" y="6362"/>
                </a:cubicBezTo>
                <a:lnTo>
                  <a:pt x="253999" y="114842"/>
                </a:lnTo>
                <a:cubicBezTo>
                  <a:pt x="258229" y="119072"/>
                  <a:pt x="260356" y="124626"/>
                  <a:pt x="260356" y="130181"/>
                </a:cubicBezTo>
                <a:cubicBezTo>
                  <a:pt x="260356" y="135735"/>
                  <a:pt x="258229" y="141290"/>
                  <a:pt x="253999" y="145520"/>
                </a:cubicBezTo>
                <a:cubicBezTo>
                  <a:pt x="245516" y="154003"/>
                  <a:pt x="231804" y="154003"/>
                  <a:pt x="223321" y="145520"/>
                </a:cubicBezTo>
                <a:lnTo>
                  <a:pt x="130181" y="52379"/>
                </a:lnTo>
                <a:lnTo>
                  <a:pt x="37041" y="145519"/>
                </a:lnTo>
                <a:cubicBezTo>
                  <a:pt x="28558" y="154002"/>
                  <a:pt x="14846" y="154002"/>
                  <a:pt x="6363" y="145519"/>
                </a:cubicBezTo>
                <a:cubicBezTo>
                  <a:pt x="-2120" y="137037"/>
                  <a:pt x="-2120" y="123324"/>
                  <a:pt x="6363" y="114842"/>
                </a:cubicBezTo>
                <a:lnTo>
                  <a:pt x="114843" y="6362"/>
                </a:lnTo>
                <a:cubicBezTo>
                  <a:pt x="119084" y="2121"/>
                  <a:pt x="124633" y="0"/>
                  <a:pt x="130181" y="0"/>
                </a:cubicBezTo>
                <a:close/>
              </a:path>
            </a:pathLst>
          </a:custGeom>
          <a:solidFill>
            <a:srgbClr val="76B72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A4D3845-2819-7FD0-5E76-D822B297DF63}"/>
              </a:ext>
            </a:extLst>
          </p:cNvPr>
          <p:cNvSpPr/>
          <p:nvPr/>
        </p:nvSpPr>
        <p:spPr>
          <a:xfrm>
            <a:off x="8484045" y="2046941"/>
            <a:ext cx="3473617" cy="1678588"/>
          </a:xfrm>
          <a:prstGeom prst="ellipse">
            <a:avLst/>
          </a:prstGeom>
          <a:solidFill>
            <a:srgbClr val="808080">
              <a:lumMod val="20000"/>
              <a:lumOff val="80000"/>
            </a:srgbClr>
          </a:solidFill>
          <a:ln w="12700" cap="flat" cmpd="sng" algn="ctr">
            <a:noFill/>
            <a:prstDash val="solid"/>
            <a:miter lim="800000"/>
          </a:ln>
          <a:effectLst>
            <a:outerShdw blurRad="254000" algn="ctr" rotWithShape="0">
              <a:prstClr val="black">
                <a:alpha val="20000"/>
              </a:prstClr>
            </a:outerShdw>
          </a:effectLst>
        </p:spPr>
        <p:txBody>
          <a:bodyPr wrap="square" rtlCol="0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11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9" name="Text Placeholder 14">
            <a:extLst>
              <a:ext uri="{FF2B5EF4-FFF2-40B4-BE49-F238E27FC236}">
                <a16:creationId xmlns:a16="http://schemas.microsoft.com/office/drawing/2014/main" id="{D4FD050D-653F-76E6-D856-F5CD9F172B2B}"/>
              </a:ext>
            </a:extLst>
          </p:cNvPr>
          <p:cNvSpPr txBox="1">
            <a:spLocks/>
          </p:cNvSpPr>
          <p:nvPr/>
        </p:nvSpPr>
        <p:spPr>
          <a:xfrm>
            <a:off x="8832278" y="2302988"/>
            <a:ext cx="2818948" cy="1236236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1" kern="1200" cap="none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363" indent="-18256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 Narrow" panose="020B060602020203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ctr">
              <a:defRPr/>
            </a:pPr>
            <a:r>
              <a:rPr lang="en-GB" sz="3200" b="1">
                <a:solidFill>
                  <a:srgbClr val="20286E"/>
                </a:solidFill>
                <a:latin typeface="Calibri" panose="020F0502020204030204"/>
                <a:ea typeface="Calibri Light" panose="020F0302020204030204" pitchFamily="34" charset="0"/>
                <a:cs typeface="Calibri Light" panose="020F0302020204030204" pitchFamily="34" charset="0"/>
              </a:rPr>
              <a:t>100% of People</a:t>
            </a:r>
          </a:p>
          <a:p>
            <a:pPr lvl="1" algn="ctr">
              <a:defRPr/>
            </a:pPr>
            <a:r>
              <a:rPr lang="en-GB" sz="2400" b="1">
                <a:solidFill>
                  <a:schemeClr val="accent2"/>
                </a:solidFill>
              </a:rPr>
              <a:t>AI Agents </a:t>
            </a:r>
          </a:p>
          <a:p>
            <a:pPr lvl="1" algn="ctr">
              <a:defRPr/>
            </a:pPr>
            <a:r>
              <a:rPr lang="en-GB" sz="2400" b="1">
                <a:solidFill>
                  <a:schemeClr val="accent2"/>
                </a:solidFill>
              </a:rPr>
              <a:t>Digital Skills</a:t>
            </a:r>
          </a:p>
        </p:txBody>
      </p:sp>
    </p:spTree>
    <p:extLst>
      <p:ext uri="{BB962C8B-B14F-4D97-AF65-F5344CB8AC3E}">
        <p14:creationId xmlns:p14="http://schemas.microsoft.com/office/powerpoint/2010/main" val="36060320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923"/>
  <p:tag name="THINKCELLSHAPEDONOTDELETE" val="pwXLQEFWORUmO2TPvU.3e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4_Titan 1">
  <a:themeElements>
    <a:clrScheme name="Titan">
      <a:dk1>
        <a:sysClr val="windowText" lastClr="000000"/>
      </a:dk1>
      <a:lt1>
        <a:sysClr val="window" lastClr="FFFFFF"/>
      </a:lt1>
      <a:dk2>
        <a:srgbClr val="1F3367"/>
      </a:dk2>
      <a:lt2>
        <a:srgbClr val="F4F4F6"/>
      </a:lt2>
      <a:accent1>
        <a:srgbClr val="0069AE"/>
      </a:accent1>
      <a:accent2>
        <a:srgbClr val="A9CD73"/>
      </a:accent2>
      <a:accent3>
        <a:srgbClr val="8578AB"/>
      </a:accent3>
      <a:accent4>
        <a:srgbClr val="4ABFB7"/>
      </a:accent4>
      <a:accent5>
        <a:srgbClr val="80AFD0"/>
      </a:accent5>
      <a:accent6>
        <a:srgbClr val="AC8B8A"/>
      </a:accent6>
      <a:hlink>
        <a:srgbClr val="0563C1"/>
      </a:hlink>
      <a:folHlink>
        <a:srgbClr val="954F72"/>
      </a:folHlink>
    </a:clrScheme>
    <a:fontScheme name="Titan 1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ITAN PPT template_220114">
  <a:themeElements>
    <a:clrScheme name="Custom 3">
      <a:dk1>
        <a:srgbClr val="1C1D1A"/>
      </a:dk1>
      <a:lt1>
        <a:srgbClr val="FFFFFF"/>
      </a:lt1>
      <a:dk2>
        <a:srgbClr val="20286E"/>
      </a:dk2>
      <a:lt2>
        <a:srgbClr val="B28D8C"/>
      </a:lt2>
      <a:accent1>
        <a:srgbClr val="0066B1"/>
      </a:accent1>
      <a:accent2>
        <a:srgbClr val="76B72A"/>
      </a:accent2>
      <a:accent3>
        <a:srgbClr val="4BBDB6"/>
      </a:accent3>
      <a:accent4>
        <a:srgbClr val="AEC90F"/>
      </a:accent4>
      <a:accent5>
        <a:srgbClr val="07B4DD"/>
      </a:accent5>
      <a:accent6>
        <a:srgbClr val="565FA6"/>
      </a:accent6>
      <a:hlink>
        <a:srgbClr val="49BFB7"/>
      </a:hlink>
      <a:folHlink>
        <a:srgbClr val="DCE3E0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6" id="{D2414CB1-0B09-254E-AB0B-45F864AACEA9}" vid="{72DB20BF-6B7A-9F42-9C3C-CB700E1D103D}"/>
    </a:ext>
  </a:extLst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394A5D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Blue Contrast ">
  <a:themeElements>
    <a:clrScheme name="Actual TITAN 2024">
      <a:dk1>
        <a:srgbClr val="1C1D1A"/>
      </a:dk1>
      <a:lt1>
        <a:srgbClr val="FFFFFF"/>
      </a:lt1>
      <a:dk2>
        <a:srgbClr val="FFFFFF"/>
      </a:dk2>
      <a:lt2>
        <a:srgbClr val="FFFFFF"/>
      </a:lt2>
      <a:accent1>
        <a:srgbClr val="20286E"/>
      </a:accent1>
      <a:accent2>
        <a:srgbClr val="76B72A"/>
      </a:accent2>
      <a:accent3>
        <a:srgbClr val="4BBDB6"/>
      </a:accent3>
      <a:accent4>
        <a:srgbClr val="07B4DD"/>
      </a:accent4>
      <a:accent5>
        <a:srgbClr val="585FA8"/>
      </a:accent5>
      <a:accent6>
        <a:srgbClr val="F8B106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1E3367"/>
        </a:lt1>
        <a:dk2>
          <a:srgbClr val="1C1D1A"/>
        </a:dk2>
        <a:lt2>
          <a:srgbClr val="1C1D1A"/>
        </a:lt2>
        <a:accent1>
          <a:srgbClr val="FFFFFF"/>
        </a:accent1>
        <a:accent2>
          <a:srgbClr val="4BBDB6"/>
        </a:accent2>
        <a:accent3>
          <a:srgbClr val="0168AE"/>
        </a:accent3>
        <a:accent4>
          <a:srgbClr val="CFD0CF"/>
        </a:accent4>
        <a:accent5>
          <a:srgbClr val="727BB8"/>
        </a:accent5>
        <a:accent6>
          <a:srgbClr val="7EA4C3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Presentation1" id="{D1EBA7AD-C205-4A99-B502-F406F9045F3C}" vid="{DF9512AB-23DC-4C98-9B6C-0A2D9D3028EC}"/>
    </a:ext>
  </a:extLst>
</a:theme>
</file>

<file path=ppt/theme/theme5.xml><?xml version="1.0" encoding="utf-8"?>
<a:theme xmlns:a="http://schemas.openxmlformats.org/drawingml/2006/main" name="TITAN">
  <a:themeElements>
    <a:clrScheme name="Custom 1">
      <a:dk1>
        <a:srgbClr val="1C1D1A"/>
      </a:dk1>
      <a:lt1>
        <a:srgbClr val="FFFFFF"/>
      </a:lt1>
      <a:dk2>
        <a:srgbClr val="20286E"/>
      </a:dk2>
      <a:lt2>
        <a:srgbClr val="B28D8C"/>
      </a:lt2>
      <a:accent1>
        <a:srgbClr val="0066B1"/>
      </a:accent1>
      <a:accent2>
        <a:srgbClr val="76B72A"/>
      </a:accent2>
      <a:accent3>
        <a:srgbClr val="4BBDB6"/>
      </a:accent3>
      <a:accent4>
        <a:srgbClr val="AEC90F"/>
      </a:accent4>
      <a:accent5>
        <a:srgbClr val="07B4DD"/>
      </a:accent5>
      <a:accent6>
        <a:srgbClr val="565FA6"/>
      </a:accent6>
      <a:hlink>
        <a:srgbClr val="49BFB7"/>
      </a:hlink>
      <a:folHlink>
        <a:srgbClr val="DCE3E0"/>
      </a:folHlink>
    </a:clrScheme>
    <a:fontScheme name="TITAN">
      <a:majorFont>
        <a:latin typeface="Calibri BOLD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cap="flat">
          <a:noFill/>
          <a:prstDash val="solid"/>
        </a:ln>
      </a:spPr>
      <a:bodyPr vert="horz" wrap="none" lIns="45000" tIns="22500" rIns="45000" bIns="22500" anchor="ctr" anchorCtr="1" compatLnSpc="0"/>
      <a:lstStyle>
        <a:defPPr algn="l" hangingPunct="0">
          <a:defRPr sz="900" dirty="0">
            <a:latin typeface="Poppins" panose="00000500000000000000" pitchFamily="2" charset="0"/>
            <a:ea typeface="Microsoft YaHei" pitchFamily="2"/>
            <a:cs typeface="Lucida Sans" pitchFamily="2"/>
          </a:defRPr>
        </a:defPPr>
      </a:lstStyle>
    </a:spDef>
    <a:txDef>
      <a:spPr/>
      <a:bodyPr wrap="square" lIns="0" tIns="0" rIns="0" bIns="0" anchor="t" anchorCtr="0">
        <a:spAutoFit/>
      </a:bodyPr>
      <a:lstStyle>
        <a:defPPr algn="l">
          <a:defRPr dirty="0" smtClean="0"/>
        </a:defPPr>
      </a:lstStyle>
    </a:txDef>
  </a:objectDefaults>
  <a:extraClrSchemeLst/>
  <a:custClrLst>
    <a:custClr name="Light Green 20%">
      <a:srgbClr val="E0EEF0"/>
    </a:custClr>
    <a:custClr name="Dark Green 30%">
      <a:srgbClr val="C1D8DA"/>
    </a:custClr>
  </a:custClrLst>
  <a:extLst>
    <a:ext uri="{05A4C25C-085E-4340-85A3-A5531E510DB2}">
      <thm15:themeFamily xmlns:thm15="http://schemas.microsoft.com/office/thememl/2012/main" name="EOS_PowerPoint_Master.potx" id="{E3DCD8E6-7A52-429E-80B7-77854FBC7196}" vid="{7D387DF8-9C5C-4E97-9F30-4534DC068B6D}"/>
    </a:ext>
  </a:extLst>
</a:theme>
</file>

<file path=ppt/theme/theme6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0bbad01-4a95-418d-8d81-fafb66b127ca" xsi:nil="true"/>
    <lcf76f155ced4ddcb4097134ff3c332f xmlns="9598ef27-586e-417c-b2f5-6901121ebb04">
      <Terms xmlns="http://schemas.microsoft.com/office/infopath/2007/PartnerControls"/>
    </lcf76f155ced4ddcb4097134ff3c332f>
    <Comments xmlns="9598ef27-586e-417c-b2f5-6901121ebb0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AC460F020042940BC7C44E6B3E73A66" ma:contentTypeVersion="15" ma:contentTypeDescription="Create a new document." ma:contentTypeScope="" ma:versionID="b52910bb837ec5442d0803f6b602910b">
  <xsd:schema xmlns:xsd="http://www.w3.org/2001/XMLSchema" xmlns:xs="http://www.w3.org/2001/XMLSchema" xmlns:p="http://schemas.microsoft.com/office/2006/metadata/properties" xmlns:ns2="9598ef27-586e-417c-b2f5-6901121ebb04" xmlns:ns3="e0bbad01-4a95-418d-8d81-fafb66b127ca" targetNamespace="http://schemas.microsoft.com/office/2006/metadata/properties" ma:root="true" ma:fieldsID="38d8ea3532ffa3772d7584407d124a53" ns2:_="" ns3:_="">
    <xsd:import namespace="9598ef27-586e-417c-b2f5-6901121ebb04"/>
    <xsd:import namespace="e0bbad01-4a95-418d-8d81-fafb66b127c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Comments" minOccurs="0"/>
                <xsd:element ref="ns2:MediaLengthInSecond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98ef27-586e-417c-b2f5-6901121ebb0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5a51e49a-d2a9-4799-a978-14923219ef7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Comments" ma:index="19" nillable="true" ma:displayName="Comments" ma:format="Dropdown" ma:internalName="Comments">
      <xsd:simpleType>
        <xsd:restriction base="dms:Text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2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bbad01-4a95-418d-8d81-fafb66b127ca" elementFormDefault="qualified">
    <xsd:import namespace="http://schemas.microsoft.com/office/2006/documentManagement/types"/>
    <xsd:import namespace="http://schemas.microsoft.com/office/infopath/2007/PartnerControls"/>
    <xsd:element name="TaxCatchAll" ma:index="14" nillable="true" ma:displayName="Taxonomy Catch All Column" ma:hidden="true" ma:list="{367a7f04-9140-43ec-9a7f-442a5828f3e1}" ma:internalName="TaxCatchAll" ma:showField="CatchAllData" ma:web="e0bbad01-4a95-418d-8d81-fafb66b127c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F3808B4-AF89-4B55-BAA7-8CD80EDEEC45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65d5068b-a531-4428-8f34-86b4a16f3fb9"/>
    <ds:schemaRef ds:uri="http://www.w3.org/XML/1998/namespace"/>
    <ds:schemaRef ds:uri="a7e710a2-5b86-49c7-9ecc-3d053c41945a"/>
    <ds:schemaRef ds:uri="a4bd29e3-9236-4376-880a-c4020042b8b3"/>
    <ds:schemaRef ds:uri="http://purl.org/dc/dcmitype/"/>
    <ds:schemaRef ds:uri="e0bbad01-4a95-418d-8d81-fafb66b127ca"/>
    <ds:schemaRef ds:uri="9598ef27-586e-417c-b2f5-6901121ebb04"/>
  </ds:schemaRefs>
</ds:datastoreItem>
</file>

<file path=customXml/itemProps2.xml><?xml version="1.0" encoding="utf-8"?>
<ds:datastoreItem xmlns:ds="http://schemas.openxmlformats.org/officeDocument/2006/customXml" ds:itemID="{3BA2FACF-D490-416D-8CE7-D121B9A38D0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14301F2-D9FE-4258-93A3-9A43320ADA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98ef27-586e-417c-b2f5-6901121ebb04"/>
    <ds:schemaRef ds:uri="e0bbad01-4a95-418d-8d81-fafb66b127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66</TotalTime>
  <Words>439</Words>
  <Application>Microsoft Office PowerPoint</Application>
  <PresentationFormat>Widescreen</PresentationFormat>
  <Paragraphs>68</Paragraphs>
  <Slides>5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4_Titan 1</vt:lpstr>
      <vt:lpstr>TITAN PPT template_220114</vt:lpstr>
      <vt:lpstr>3_Office Theme</vt:lpstr>
      <vt:lpstr>Blue Contrast </vt:lpstr>
      <vt:lpstr>TITAN</vt:lpstr>
      <vt:lpstr>2_Office Theme</vt:lpstr>
      <vt:lpstr>PowerPoint Presentation</vt:lpstr>
      <vt:lpstr>TITAN has already built unique capabilities and assets </vt:lpstr>
      <vt:lpstr>PowerPoint Presentation</vt:lpstr>
      <vt:lpstr>Digital delivering substantial benefits, also in CO2 reduction</vt:lpstr>
      <vt:lpstr>TITAN’s digital transformation targe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eodoropoulou Maria</dc:creator>
  <cp:lastModifiedBy>Kyrkos Antonis</cp:lastModifiedBy>
  <cp:revision>23</cp:revision>
  <dcterms:created xsi:type="dcterms:W3CDTF">2024-01-18T14:04:46Z</dcterms:created>
  <dcterms:modified xsi:type="dcterms:W3CDTF">2025-06-12T13:5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AC460F020042940BC7C44E6B3E73A66</vt:lpwstr>
  </property>
  <property fmtid="{D5CDD505-2E9C-101B-9397-08002B2CF9AE}" pid="3" name="MediaServiceImageTags">
    <vt:lpwstr/>
  </property>
</Properties>
</file>